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5" r:id="rId1"/>
  </p:sldMasterIdLst>
  <p:notesMasterIdLst>
    <p:notesMasterId r:id="rId8"/>
  </p:notesMasterIdLst>
  <p:sldIdLst>
    <p:sldId id="256" r:id="rId2"/>
    <p:sldId id="259" r:id="rId3"/>
    <p:sldId id="278" r:id="rId4"/>
    <p:sldId id="261" r:id="rId5"/>
    <p:sldId id="262" r:id="rId6"/>
    <p:sldId id="270" r:id="rId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rga" id="{8D8F59E3-62F1-4E10-8EEC-891DF4F4C784}">
          <p14:sldIdLst>
            <p14:sldId id="256"/>
          </p14:sldIdLst>
        </p14:section>
        <p14:section name="Einführung" id="{16F5E9D5-347D-47D5-BEA2-25C704951CE0}">
          <p14:sldIdLst>
            <p14:sldId id="259"/>
          </p14:sldIdLst>
        </p14:section>
        <p14:section name="Framework" id="{9DC12C05-4706-4400-B849-A3DA46115E72}">
          <p14:sldIdLst>
            <p14:sldId id="278"/>
          </p14:sldIdLst>
        </p14:section>
        <p14:section name="Demo" id="{8154CC64-F685-4106-80E7-7D7F3A5206BB}">
          <p14:sldIdLst>
            <p14:sldId id="261"/>
            <p14:sldId id="262"/>
          </p14:sldIdLst>
        </p14:section>
        <p14:section name="Abschluss" id="{A46E7EEC-300A-4823-9E9A-8338B5CCD7AA}">
          <p14:sldIdLst>
            <p14:sldId id="2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7296" userDrawn="1">
          <p15:clr>
            <a:srgbClr val="A4A3A4"/>
          </p15:clr>
        </p15:guide>
        <p15:guide id="4" pos="384" userDrawn="1">
          <p15:clr>
            <a:srgbClr val="A4A3A4"/>
          </p15:clr>
        </p15:guide>
        <p15:guide id="5" orient="horz" pos="3936" userDrawn="1">
          <p15:clr>
            <a:srgbClr val="A4A3A4"/>
          </p15:clr>
        </p15:guide>
        <p15:guide id="6" orient="horz" pos="4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98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287B9EF-23C9-4B93-98EE-B924C5694120}" v="65" dt="2025-08-04T21:21:45.28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67" autoAdjust="0"/>
    <p:restoredTop sz="52300" autoAdjust="0"/>
  </p:normalViewPr>
  <p:slideViewPr>
    <p:cSldViewPr snapToGrid="0" showGuides="1">
      <p:cViewPr varScale="1">
        <p:scale>
          <a:sx n="50" d="100"/>
          <a:sy n="50" d="100"/>
        </p:scale>
        <p:origin x="3228" y="276"/>
      </p:cViewPr>
      <p:guideLst>
        <p:guide orient="horz" pos="2160"/>
        <p:guide pos="3840"/>
        <p:guide pos="7296"/>
        <p:guide pos="384"/>
        <p:guide orient="horz" pos="3936"/>
        <p:guide orient="horz" pos="4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kas Gosling" userId="a9f26ce32120362e" providerId="LiveId" clId="{2287B9EF-23C9-4B93-98EE-B924C5694120}"/>
    <pc:docChg chg="undo custSel addSld delSld modSld sldOrd addSection delSection modSection">
      <pc:chgData name="Lukas Gosling" userId="a9f26ce32120362e" providerId="LiveId" clId="{2287B9EF-23C9-4B93-98EE-B924C5694120}" dt="2025-08-04T21:23:38.950" v="1380" actId="313"/>
      <pc:docMkLst>
        <pc:docMk/>
      </pc:docMkLst>
      <pc:sldChg chg="addSp delSp modSp mod modNotesTx">
        <pc:chgData name="Lukas Gosling" userId="a9f26ce32120362e" providerId="LiveId" clId="{2287B9EF-23C9-4B93-98EE-B924C5694120}" dt="2025-08-04T20:13:48.577" v="879" actId="20577"/>
        <pc:sldMkLst>
          <pc:docMk/>
          <pc:sldMk cId="3331109375" sldId="256"/>
        </pc:sldMkLst>
        <pc:spChg chg="mod">
          <ac:chgData name="Lukas Gosling" userId="a9f26ce32120362e" providerId="LiveId" clId="{2287B9EF-23C9-4B93-98EE-B924C5694120}" dt="2025-08-04T20:13:48.577" v="879" actId="20577"/>
          <ac:spMkLst>
            <pc:docMk/>
            <pc:sldMk cId="3331109375" sldId="256"/>
            <ac:spMk id="27" creationId="{A26ABA97-73EA-77D4-BF16-AECA3FC29EBF}"/>
          </ac:spMkLst>
        </pc:spChg>
        <pc:spChg chg="mod">
          <ac:chgData name="Lukas Gosling" userId="a9f26ce32120362e" providerId="LiveId" clId="{2287B9EF-23C9-4B93-98EE-B924C5694120}" dt="2025-08-04T19:17:36.511" v="807" actId="20577"/>
          <ac:spMkLst>
            <pc:docMk/>
            <pc:sldMk cId="3331109375" sldId="256"/>
            <ac:spMk id="28" creationId="{4DCE7319-2A64-5149-9B08-3EB676BCA7C4}"/>
          </ac:spMkLst>
        </pc:spChg>
        <pc:picChg chg="add del mod">
          <ac:chgData name="Lukas Gosling" userId="a9f26ce32120362e" providerId="LiveId" clId="{2287B9EF-23C9-4B93-98EE-B924C5694120}" dt="2025-08-04T20:10:58.194" v="813" actId="21"/>
          <ac:picMkLst>
            <pc:docMk/>
            <pc:sldMk cId="3331109375" sldId="256"/>
            <ac:picMk id="32" creationId="{E4E8343E-FBB9-A624-4B88-E12A694F1452}"/>
          </ac:picMkLst>
        </pc:picChg>
        <pc:picChg chg="add mod">
          <ac:chgData name="Lukas Gosling" userId="a9f26ce32120362e" providerId="LiveId" clId="{2287B9EF-23C9-4B93-98EE-B924C5694120}" dt="2025-08-04T20:13:05.721" v="847" actId="1076"/>
          <ac:picMkLst>
            <pc:docMk/>
            <pc:sldMk cId="3331109375" sldId="256"/>
            <ac:picMk id="33" creationId="{E4E8343E-FBB9-A624-4B88-E12A694F1452}"/>
          </ac:picMkLst>
        </pc:picChg>
        <pc:picChg chg="add mod">
          <ac:chgData name="Lukas Gosling" userId="a9f26ce32120362e" providerId="LiveId" clId="{2287B9EF-23C9-4B93-98EE-B924C5694120}" dt="2025-08-04T20:13:02.333" v="846" actId="1076"/>
          <ac:picMkLst>
            <pc:docMk/>
            <pc:sldMk cId="3331109375" sldId="256"/>
            <ac:picMk id="35" creationId="{22A342C7-D3BB-6EF5-1FB8-E483C2B447F0}"/>
          </ac:picMkLst>
        </pc:picChg>
      </pc:sldChg>
      <pc:sldChg chg="addSp modSp mod modNotesTx">
        <pc:chgData name="Lukas Gosling" userId="a9f26ce32120362e" providerId="LiveId" clId="{2287B9EF-23C9-4B93-98EE-B924C5694120}" dt="2025-08-04T20:35:09.581" v="1076" actId="20577"/>
        <pc:sldMkLst>
          <pc:docMk/>
          <pc:sldMk cId="969252031" sldId="257"/>
        </pc:sldMkLst>
        <pc:spChg chg="mod">
          <ac:chgData name="Lukas Gosling" userId="a9f26ce32120362e" providerId="LiveId" clId="{2287B9EF-23C9-4B93-98EE-B924C5694120}" dt="2025-07-30T21:54:06.984" v="0" actId="21"/>
          <ac:spMkLst>
            <pc:docMk/>
            <pc:sldMk cId="969252031" sldId="257"/>
            <ac:spMk id="3" creationId="{2F4287E0-23CD-6918-B9BD-7F44A343DC72}"/>
          </ac:spMkLst>
        </pc:spChg>
        <pc:picChg chg="add mod">
          <ac:chgData name="Lukas Gosling" userId="a9f26ce32120362e" providerId="LiveId" clId="{2287B9EF-23C9-4B93-98EE-B924C5694120}" dt="2025-07-30T21:55:30.919" v="68" actId="1076"/>
          <ac:picMkLst>
            <pc:docMk/>
            <pc:sldMk cId="969252031" sldId="257"/>
            <ac:picMk id="6" creationId="{F21758AE-8EF1-575B-8E36-D3F533E779FD}"/>
          </ac:picMkLst>
        </pc:picChg>
      </pc:sldChg>
      <pc:sldChg chg="addSp modSp mod modNotesTx">
        <pc:chgData name="Lukas Gosling" userId="a9f26ce32120362e" providerId="LiveId" clId="{2287B9EF-23C9-4B93-98EE-B924C5694120}" dt="2025-08-04T21:08:32.262" v="1212" actId="20577"/>
        <pc:sldMkLst>
          <pc:docMk/>
          <pc:sldMk cId="274217365" sldId="259"/>
        </pc:sldMkLst>
        <pc:spChg chg="mod">
          <ac:chgData name="Lukas Gosling" userId="a9f26ce32120362e" providerId="LiveId" clId="{2287B9EF-23C9-4B93-98EE-B924C5694120}" dt="2025-08-04T20:22:21.892" v="884" actId="113"/>
          <ac:spMkLst>
            <pc:docMk/>
            <pc:sldMk cId="274217365" sldId="259"/>
            <ac:spMk id="3" creationId="{5D47071D-31EA-8F99-61E4-A57FDC469AE6}"/>
          </ac:spMkLst>
        </pc:spChg>
        <pc:picChg chg="add mod">
          <ac:chgData name="Lukas Gosling" userId="a9f26ce32120362e" providerId="LiveId" clId="{2287B9EF-23C9-4B93-98EE-B924C5694120}" dt="2025-08-04T20:22:47.930" v="890" actId="1076"/>
          <ac:picMkLst>
            <pc:docMk/>
            <pc:sldMk cId="274217365" sldId="259"/>
            <ac:picMk id="5" creationId="{72F17AD7-EFE5-39E3-57C8-CDC830B6610D}"/>
          </ac:picMkLst>
        </pc:picChg>
      </pc:sldChg>
      <pc:sldChg chg="addSp delSp modSp mod modNotesTx">
        <pc:chgData name="Lukas Gosling" userId="a9f26ce32120362e" providerId="LiveId" clId="{2287B9EF-23C9-4B93-98EE-B924C5694120}" dt="2025-08-04T21:23:38.950" v="1380" actId="313"/>
        <pc:sldMkLst>
          <pc:docMk/>
          <pc:sldMk cId="3931594505" sldId="261"/>
        </pc:sldMkLst>
        <pc:picChg chg="add mod">
          <ac:chgData name="Lukas Gosling" userId="a9f26ce32120362e" providerId="LiveId" clId="{2287B9EF-23C9-4B93-98EE-B924C5694120}" dt="2025-07-30T22:05:59.287" v="128" actId="1076"/>
          <ac:picMkLst>
            <pc:docMk/>
            <pc:sldMk cId="3931594505" sldId="261"/>
            <ac:picMk id="10" creationId="{DA520DEC-5831-698B-373B-5C91A9EC9B92}"/>
          </ac:picMkLst>
        </pc:picChg>
      </pc:sldChg>
      <pc:sldChg chg="addSp delSp modSp mod modNotesTx">
        <pc:chgData name="Lukas Gosling" userId="a9f26ce32120362e" providerId="LiveId" clId="{2287B9EF-23C9-4B93-98EE-B924C5694120}" dt="2025-08-04T21:23:18.232" v="1364" actId="20577"/>
        <pc:sldMkLst>
          <pc:docMk/>
          <pc:sldMk cId="406142362" sldId="262"/>
        </pc:sldMkLst>
        <pc:picChg chg="add mod">
          <ac:chgData name="Lukas Gosling" userId="a9f26ce32120362e" providerId="LiveId" clId="{2287B9EF-23C9-4B93-98EE-B924C5694120}" dt="2025-07-30T22:25:38.025" v="645"/>
          <ac:picMkLst>
            <pc:docMk/>
            <pc:sldMk cId="406142362" sldId="262"/>
            <ac:picMk id="5" creationId="{C73AF104-6F94-8B43-ADF5-9A26602F0C4C}"/>
          </ac:picMkLst>
        </pc:picChg>
      </pc:sldChg>
      <pc:sldChg chg="addSp modSp del mod ord modNotesTx">
        <pc:chgData name="Lukas Gosling" userId="a9f26ce32120362e" providerId="LiveId" clId="{2287B9EF-23C9-4B93-98EE-B924C5694120}" dt="2025-08-04T21:05:53.939" v="1142" actId="2696"/>
        <pc:sldMkLst>
          <pc:docMk/>
          <pc:sldMk cId="449585940" sldId="264"/>
        </pc:sldMkLst>
        <pc:spChg chg="mod">
          <ac:chgData name="Lukas Gosling" userId="a9f26ce32120362e" providerId="LiveId" clId="{2287B9EF-23C9-4B93-98EE-B924C5694120}" dt="2025-08-04T21:04:52.172" v="1125" actId="20577"/>
          <ac:spMkLst>
            <pc:docMk/>
            <pc:sldMk cId="449585940" sldId="264"/>
            <ac:spMk id="3" creationId="{4473532D-BCF1-A447-F9C7-964485B42F81}"/>
          </ac:spMkLst>
        </pc:spChg>
        <pc:picChg chg="add mod">
          <ac:chgData name="Lukas Gosling" userId="a9f26ce32120362e" providerId="LiveId" clId="{2287B9EF-23C9-4B93-98EE-B924C5694120}" dt="2025-08-04T21:03:45.541" v="1121" actId="1076"/>
          <ac:picMkLst>
            <pc:docMk/>
            <pc:sldMk cId="449585940" sldId="264"/>
            <ac:picMk id="6" creationId="{837FFFCF-9A88-D570-509C-2E0B8A80D5DA}"/>
          </ac:picMkLst>
        </pc:picChg>
      </pc:sldChg>
      <pc:sldChg chg="modSp del mod">
        <pc:chgData name="Lukas Gosling" userId="a9f26ce32120362e" providerId="LiveId" clId="{2287B9EF-23C9-4B93-98EE-B924C5694120}" dt="2025-07-30T21:56:51.350" v="87" actId="2696"/>
        <pc:sldMkLst>
          <pc:docMk/>
          <pc:sldMk cId="3171585146" sldId="265"/>
        </pc:sldMkLst>
      </pc:sldChg>
      <pc:sldChg chg="del">
        <pc:chgData name="Lukas Gosling" userId="a9f26ce32120362e" providerId="LiveId" clId="{2287B9EF-23C9-4B93-98EE-B924C5694120}" dt="2025-07-30T23:06:16.040" v="660" actId="47"/>
        <pc:sldMkLst>
          <pc:docMk/>
          <pc:sldMk cId="718575004" sldId="266"/>
        </pc:sldMkLst>
      </pc:sldChg>
      <pc:sldChg chg="del">
        <pc:chgData name="Lukas Gosling" userId="a9f26ce32120362e" providerId="LiveId" clId="{2287B9EF-23C9-4B93-98EE-B924C5694120}" dt="2025-07-30T22:16:19.056" v="644" actId="47"/>
        <pc:sldMkLst>
          <pc:docMk/>
          <pc:sldMk cId="2175349124" sldId="267"/>
        </pc:sldMkLst>
      </pc:sldChg>
      <pc:sldChg chg="modSp del mod">
        <pc:chgData name="Lukas Gosling" userId="a9f26ce32120362e" providerId="LiveId" clId="{2287B9EF-23C9-4B93-98EE-B924C5694120}" dt="2025-08-04T20:22:50.126" v="891" actId="2696"/>
        <pc:sldMkLst>
          <pc:docMk/>
          <pc:sldMk cId="3290882198" sldId="268"/>
        </pc:sldMkLst>
        <pc:spChg chg="mod">
          <ac:chgData name="Lukas Gosling" userId="a9f26ce32120362e" providerId="LiveId" clId="{2287B9EF-23C9-4B93-98EE-B924C5694120}" dt="2025-08-04T20:17:56.483" v="880" actId="6549"/>
          <ac:spMkLst>
            <pc:docMk/>
            <pc:sldMk cId="3290882198" sldId="268"/>
            <ac:spMk id="3" creationId="{F26C7AC0-CC5E-3FA8-FAA5-C519A1B135A7}"/>
          </ac:spMkLst>
        </pc:spChg>
      </pc:sldChg>
      <pc:sldChg chg="delSp modSp mod">
        <pc:chgData name="Lukas Gosling" userId="a9f26ce32120362e" providerId="LiveId" clId="{2287B9EF-23C9-4B93-98EE-B924C5694120}" dt="2025-07-30T22:13:44.751" v="429" actId="1076"/>
        <pc:sldMkLst>
          <pc:docMk/>
          <pc:sldMk cId="194438742" sldId="270"/>
        </pc:sldMkLst>
        <pc:spChg chg="mod">
          <ac:chgData name="Lukas Gosling" userId="a9f26ce32120362e" providerId="LiveId" clId="{2287B9EF-23C9-4B93-98EE-B924C5694120}" dt="2025-07-30T22:13:44.751" v="429" actId="1076"/>
          <ac:spMkLst>
            <pc:docMk/>
            <pc:sldMk cId="194438742" sldId="270"/>
            <ac:spMk id="2" creationId="{ED95610F-322B-4DD1-8AA0-F9773EDD4C17}"/>
          </ac:spMkLst>
        </pc:spChg>
      </pc:sldChg>
      <pc:sldChg chg="modNotesTx">
        <pc:chgData name="Lukas Gosling" userId="a9f26ce32120362e" providerId="LiveId" clId="{2287B9EF-23C9-4B93-98EE-B924C5694120}" dt="2025-08-04T21:05:48.124" v="1141" actId="20577"/>
        <pc:sldMkLst>
          <pc:docMk/>
          <pc:sldMk cId="1521764608" sldId="278"/>
        </pc:sldMkLst>
      </pc:sldChg>
      <pc:sldChg chg="modSp mod ord modNotesTx">
        <pc:chgData name="Lukas Gosling" userId="a9f26ce32120362e" providerId="LiveId" clId="{2287B9EF-23C9-4B93-98EE-B924C5694120}" dt="2025-08-04T21:12:21.332" v="1213" actId="12"/>
        <pc:sldMkLst>
          <pc:docMk/>
          <pc:sldMk cId="781050874" sldId="282"/>
        </pc:sldMkLst>
        <pc:spChg chg="mod">
          <ac:chgData name="Lukas Gosling" userId="a9f26ce32120362e" providerId="LiveId" clId="{2287B9EF-23C9-4B93-98EE-B924C5694120}" dt="2025-07-30T22:10:25.814" v="147" actId="20577"/>
          <ac:spMkLst>
            <pc:docMk/>
            <pc:sldMk cId="781050874" sldId="282"/>
            <ac:spMk id="2" creationId="{F25CAFBD-CF09-A692-09E6-8B9CED4F284B}"/>
          </ac:spMkLst>
        </pc:spChg>
      </pc:sldChg>
      <pc:sldChg chg="addSp modSp add del mod modNotesTx">
        <pc:chgData name="Lukas Gosling" userId="a9f26ce32120362e" providerId="LiveId" clId="{2287B9EF-23C9-4B93-98EE-B924C5694120}" dt="2025-07-30T23:06:11.291" v="659" actId="20577"/>
        <pc:sldMkLst>
          <pc:docMk/>
          <pc:sldMk cId="3106978286" sldId="286"/>
        </pc:sldMkLst>
        <pc:spChg chg="add mod">
          <ac:chgData name="Lukas Gosling" userId="a9f26ce32120362e" providerId="LiveId" clId="{2287B9EF-23C9-4B93-98EE-B924C5694120}" dt="2025-07-30T23:06:03.738" v="658" actId="1076"/>
          <ac:spMkLst>
            <pc:docMk/>
            <pc:sldMk cId="3106978286" sldId="286"/>
            <ac:spMk id="4" creationId="{662E175E-8B4E-6364-D908-6E5719F6B236}"/>
          </ac:spMkLst>
        </pc:spChg>
      </pc:sldChg>
      <pc:sldChg chg="del">
        <pc:chgData name="Lukas Gosling" userId="a9f26ce32120362e" providerId="LiveId" clId="{2287B9EF-23C9-4B93-98EE-B924C5694120}" dt="2025-07-30T22:13:58.949" v="430" actId="2696"/>
        <pc:sldMkLst>
          <pc:docMk/>
          <pc:sldMk cId="4117548470" sldId="291"/>
        </pc:sldMkLst>
      </pc:sldChg>
      <pc:sldChg chg="addSp modSp new mod modNotesTx">
        <pc:chgData name="Lukas Gosling" userId="a9f26ce32120362e" providerId="LiveId" clId="{2287B9EF-23C9-4B93-98EE-B924C5694120}" dt="2025-07-30T22:11:39.590" v="379" actId="14"/>
        <pc:sldMkLst>
          <pc:docMk/>
          <pc:sldMk cId="2466020109" sldId="292"/>
        </pc:sldMkLst>
        <pc:spChg chg="mod">
          <ac:chgData name="Lukas Gosling" userId="a9f26ce32120362e" providerId="LiveId" clId="{2287B9EF-23C9-4B93-98EE-B924C5694120}" dt="2025-07-30T22:10:33.163" v="171" actId="20577"/>
          <ac:spMkLst>
            <pc:docMk/>
            <pc:sldMk cId="2466020109" sldId="292"/>
            <ac:spMk id="2" creationId="{F7E42BDD-8C28-0DCA-8885-FFDAF03DE561}"/>
          </ac:spMkLst>
        </pc:spChg>
        <pc:picChg chg="add mod">
          <ac:chgData name="Lukas Gosling" userId="a9f26ce32120362e" providerId="LiveId" clId="{2287B9EF-23C9-4B93-98EE-B924C5694120}" dt="2025-07-30T22:10:08.631" v="134" actId="1076"/>
          <ac:picMkLst>
            <pc:docMk/>
            <pc:sldMk cId="2466020109" sldId="292"/>
            <ac:picMk id="1026" creationId="{B41E13AE-E9AF-EB44-F064-B0540DBB0B17}"/>
          </ac:picMkLst>
        </pc:picChg>
      </pc:sldChg>
      <pc:sldChg chg="new del">
        <pc:chgData name="Lukas Gosling" userId="a9f26ce32120362e" providerId="LiveId" clId="{2287B9EF-23C9-4B93-98EE-B924C5694120}" dt="2025-07-30T22:12:52.194" v="389" actId="47"/>
        <pc:sldMkLst>
          <pc:docMk/>
          <pc:sldMk cId="1667349654" sldId="293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DD7AA7-6947-46DE-8F8D-972DE75C4888}" type="datetimeFigureOut">
              <a:rPr lang="en-US" smtClean="0"/>
              <a:t>8/1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D6F596-DFBB-42B8-ADCC-5FC29CF5B49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20668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maester.dev/blog/maester-presentation/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Persönliche Vorstell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Design und Ablage der Präsentation: </a:t>
            </a:r>
            <a:r>
              <a:rPr lang="de-DE" dirty="0">
                <a:hlinkClick r:id="rId3"/>
              </a:rPr>
              <a:t>Maester </a:t>
            </a:r>
            <a:r>
              <a:rPr lang="de-DE" dirty="0" err="1">
                <a:hlinkClick r:id="rId3"/>
              </a:rPr>
              <a:t>Presentation</a:t>
            </a:r>
            <a:r>
              <a:rPr lang="de-DE" dirty="0">
                <a:hlinkClick r:id="rId3"/>
              </a:rPr>
              <a:t> Slide Decks | Maester</a:t>
            </a:r>
            <a:endParaRPr lang="de-DE" dirty="0"/>
          </a:p>
          <a:p>
            <a:endParaRPr lang="de-DE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D6F596-DFBB-42B8-ADCC-5FC29CF5B49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2941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ginne mit einem Blick auf die aktuelle Bedrohungslage:</a:t>
            </a:r>
          </a:p>
          <a:p>
            <a:pPr lvl="1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Laut Gartner entstehen 99 % der Cloud-Sicherheitsvorfälle durch vermeidbare Fehlkonfigurationen.</a:t>
            </a:r>
          </a:p>
          <a:p>
            <a:pPr lvl="1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Microsoft bestätigt diese Einschätzung: In kompromittierten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nant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urden ebenfalls solche Fehlkonfigurationen festgestellt.</a:t>
            </a:r>
          </a:p>
          <a:p>
            <a:pPr lvl="1"/>
            <a:endParaRPr lang="de-DE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Übergang zur Lösungsidee:</a:t>
            </a:r>
          </a:p>
          <a:p>
            <a:pPr lvl="1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Viele dieser Vorfälle wären durch gezielte Konfigurationsanpassungen vermeidbar.</a:t>
            </a:r>
          </a:p>
          <a:p>
            <a:pPr lvl="1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Genau hier setzt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ester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 – mit dem Prinzip </a:t>
            </a:r>
            <a:r>
              <a:rPr lang="de-DE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urity </a:t>
            </a:r>
            <a:r>
              <a:rPr lang="de-DE" sz="1200" b="1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</a:t>
            </a:r>
            <a:r>
              <a:rPr lang="de-DE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de (</a:t>
            </a:r>
            <a:r>
              <a:rPr lang="de-DE" sz="1200" b="1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C</a:t>
            </a:r>
            <a:r>
              <a:rPr lang="de-DE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1"/>
            <a:endParaRPr lang="de-DE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rläutere das Konzept von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C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pPr lvl="1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Sicherheitsrichtlinien und -kontrollen werden als Code definiert und versioniert.</a:t>
            </a:r>
          </a:p>
          <a:p>
            <a:pPr lvl="1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Dadurch können sie automatisiert getestet und in bestehende Entwicklungsprozesse integriert werden.</a:t>
            </a:r>
          </a:p>
          <a:p>
            <a:pPr lvl="1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sionierbar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icherheitsregeln lassen sich in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t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Workflows und CI/CD-Pipelines einbinden.</a:t>
            </a:r>
          </a:p>
          <a:p>
            <a:pPr lvl="1"/>
            <a:endParaRPr lang="de-DE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ntergrund zum Tool:</a:t>
            </a:r>
          </a:p>
          <a:p>
            <a:pPr lvl="1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Entwickelt von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rill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ernando, Thomas Naunheim und Fabian Bader.</a:t>
            </a:r>
          </a:p>
          <a:p>
            <a:pPr lvl="1"/>
            <a:endParaRPr lang="de-DE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ktueller Stand:</a:t>
            </a:r>
          </a:p>
          <a:p>
            <a:pPr lvl="1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Anzahl der durchgeführten Tests am 31.07.2025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7F0819-F280-49D4-9671-A9CB0FEC3C3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24747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ginne von unten nach oben, um die Architektur zu erklären.</a:t>
            </a:r>
          </a:p>
          <a:p>
            <a:r>
              <a:rPr lang="de-DE" dirty="0"/>
              <a:t>	Starte mit den Grundlagen und arbeite dich zur Anwendungsebene hoch.</a:t>
            </a:r>
          </a:p>
          <a:p>
            <a:endParaRPr lang="de-DE" dirty="0"/>
          </a:p>
          <a:p>
            <a:r>
              <a:rPr lang="de-DE" dirty="0"/>
              <a:t>Erläutere das Pester-Framework:</a:t>
            </a:r>
          </a:p>
          <a:p>
            <a:r>
              <a:rPr lang="de-DE" dirty="0"/>
              <a:t>	Wird in PowerShell für Unit-Tests verwendet – ermöglicht automatisierte Prüfungen von Konfigurationen und Skripten.</a:t>
            </a:r>
          </a:p>
          <a:p>
            <a:endParaRPr lang="de-DE" dirty="0"/>
          </a:p>
          <a:p>
            <a:r>
              <a:rPr lang="de-DE" dirty="0"/>
              <a:t>Gehe auf das </a:t>
            </a:r>
            <a:r>
              <a:rPr lang="de-DE" dirty="0" err="1"/>
              <a:t>Maester</a:t>
            </a:r>
            <a:r>
              <a:rPr lang="de-DE" dirty="0"/>
              <a:t>-PowerShell-Modul ein:</a:t>
            </a:r>
          </a:p>
          <a:p>
            <a:r>
              <a:rPr lang="de-DE" dirty="0"/>
              <a:t>	Die Tests und der Bericht sind direkt im Modul eingebettet – keine separate Umgebung nötig.</a:t>
            </a:r>
          </a:p>
          <a:p>
            <a:r>
              <a:rPr lang="de-DE" dirty="0"/>
              <a:t>	Entra, Azure, Exchange, Teams, SharePoint Online (SPO), Intune, Defender (MDI, ggf. bald MDE).</a:t>
            </a:r>
          </a:p>
          <a:p>
            <a:r>
              <a:rPr lang="de-DE" dirty="0"/>
              <a:t>	</a:t>
            </a:r>
            <a:r>
              <a:rPr lang="de-DE" dirty="0" err="1"/>
              <a:t>Invoke-MtGraphRequest</a:t>
            </a:r>
            <a:r>
              <a:rPr lang="de-DE" dirty="0"/>
              <a:t> – verbesserte Version von </a:t>
            </a:r>
            <a:r>
              <a:rPr lang="de-DE" dirty="0" err="1"/>
              <a:t>Invoke-MgGraphRequest</a:t>
            </a:r>
            <a:r>
              <a:rPr lang="de-DE" dirty="0"/>
              <a:t>, unterstützt </a:t>
            </a:r>
            <a:r>
              <a:rPr lang="de-DE" dirty="0" err="1"/>
              <a:t>Paging</a:t>
            </a:r>
            <a:r>
              <a:rPr lang="de-DE" dirty="0"/>
              <a:t>, </a:t>
            </a:r>
            <a:r>
              <a:rPr lang="de-DE" dirty="0" err="1"/>
              <a:t>Batching</a:t>
            </a:r>
            <a:r>
              <a:rPr lang="de-DE" dirty="0"/>
              <a:t> und Caching.</a:t>
            </a:r>
          </a:p>
          <a:p>
            <a:pPr lvl="1"/>
            <a:r>
              <a:rPr lang="de-DE" dirty="0"/>
              <a:t>	Tests werden automatisch ausgeführt, sobald eine Verbindung mit ausreichenden Rechten besteht.</a:t>
            </a:r>
          </a:p>
          <a:p>
            <a:pPr lvl="1"/>
            <a:r>
              <a:rPr lang="de-DE" dirty="0"/>
              <a:t>	Tests ohne Berechtigung werden als „</a:t>
            </a:r>
            <a:r>
              <a:rPr lang="de-DE" dirty="0" err="1"/>
              <a:t>skipped</a:t>
            </a:r>
            <a:r>
              <a:rPr lang="de-DE" dirty="0"/>
              <a:t>“ markiert.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Öffne einen der Berichte, die du ausgeführt hast:</a:t>
            </a:r>
          </a:p>
          <a:p>
            <a:pPr lvl="1"/>
            <a:r>
              <a:rPr lang="de-DE" dirty="0"/>
              <a:t>	Zeige die Tests, klicke dich durch die Ergebnisse.</a:t>
            </a:r>
          </a:p>
          <a:p>
            <a:pPr lvl="2"/>
            <a:r>
              <a:rPr lang="de-DE" dirty="0"/>
              <a:t>Zeige, wie die Anweisungen zur Behebung aussehen.</a:t>
            </a:r>
          </a:p>
          <a:p>
            <a:pPr lvl="2"/>
            <a:r>
              <a:rPr lang="de-DE" dirty="0"/>
              <a:t>Beispiel: Test zu CA-Richtlinien ohne konfiguriertes Notfallzugriffskonto.</a:t>
            </a:r>
          </a:p>
          <a:p>
            <a:endParaRPr lang="de-DE" dirty="0"/>
          </a:p>
          <a:p>
            <a:r>
              <a:rPr lang="de-DE" dirty="0"/>
              <a:t>Erwähne die sofort einsatzbereiten Tests und Integrationen:</a:t>
            </a:r>
          </a:p>
          <a:p>
            <a:pPr lvl="1"/>
            <a:r>
              <a:rPr lang="de-DE" dirty="0"/>
              <a:t>	Unterstützt Azure, Entra, Exchange und Teams direkt out-</a:t>
            </a:r>
            <a:r>
              <a:rPr lang="de-DE" dirty="0" err="1"/>
              <a:t>of</a:t>
            </a:r>
            <a:r>
              <a:rPr lang="de-DE" dirty="0"/>
              <a:t>-</a:t>
            </a:r>
            <a:r>
              <a:rPr lang="de-DE" dirty="0" err="1"/>
              <a:t>the</a:t>
            </a:r>
            <a:r>
              <a:rPr lang="de-DE" dirty="0"/>
              <a:t>-box.</a:t>
            </a:r>
          </a:p>
          <a:p>
            <a:endParaRPr lang="de-DE" dirty="0"/>
          </a:p>
          <a:p>
            <a:r>
              <a:rPr lang="de-DE" dirty="0"/>
              <a:t>Nenne die unterstützten Frameworks und Tools:</a:t>
            </a:r>
          </a:p>
          <a:p>
            <a:r>
              <a:rPr lang="de-DE" dirty="0"/>
              <a:t>	CIS, CISA, Entra ID Security </a:t>
            </a:r>
            <a:r>
              <a:rPr lang="de-DE" dirty="0" err="1"/>
              <a:t>Config</a:t>
            </a:r>
            <a:r>
              <a:rPr lang="de-DE" dirty="0"/>
              <a:t> Analyzer (EIDSCA) – entwickelt u. a. von Thomas Naunheim, ORCA.</a:t>
            </a:r>
          </a:p>
          <a:p>
            <a:endParaRPr lang="de-DE" dirty="0"/>
          </a:p>
          <a:p>
            <a:r>
              <a:rPr lang="de-DE" dirty="0"/>
              <a:t>Hinweis zu Berechtigungen:</a:t>
            </a:r>
          </a:p>
          <a:p>
            <a:r>
              <a:rPr lang="de-DE" dirty="0"/>
              <a:t>	https://maester.dev/docs/monitoring/github#grant-permissions-to-microsoft-graph</a:t>
            </a:r>
            <a:endParaRPr lang="en-US" dirty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D6F596-DFBB-42B8-ADCC-5FC29CF5B49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98687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bindung mit allen Rechten herstellen:</a:t>
            </a:r>
          </a:p>
          <a:p>
            <a:pPr lvl="2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eige die Rechte der App</a:t>
            </a:r>
          </a:p>
          <a:p>
            <a:pPr lvl="2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ühre alle Tests oder gezielt einzelne Tests aus</a:t>
            </a:r>
          </a:p>
          <a:p>
            <a:pPr lvl="2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eige das Testergebnis von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ester</a:t>
            </a:r>
            <a:endParaRPr lang="de-DE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endParaRPr lang="de-DE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onstriere den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par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Befehl:</a:t>
            </a:r>
          </a:p>
          <a:p>
            <a:pPr lvl="2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orher spezifischen Test ausführen</a:t>
            </a:r>
          </a:p>
          <a:p>
            <a:pPr lvl="2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stellung ändern</a:t>
            </a:r>
          </a:p>
          <a:p>
            <a:pPr lvl="2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st erneut ausführen</a:t>
            </a:r>
          </a:p>
          <a:p>
            <a:pPr lvl="2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ff anzeigen zwischen vorherigem Stand und dem während der Demo erzeugten Ergebnis</a:t>
            </a:r>
          </a:p>
          <a:p>
            <a:pPr lvl="1"/>
            <a:endParaRPr lang="de-DE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der Demo auch Benachrichtigungen in Teams zeigen:</a:t>
            </a:r>
          </a:p>
          <a:p>
            <a:pPr lvl="2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tional: Teams- und E-Mail-Benachrichtigungen von der Website demonstrieren</a:t>
            </a:r>
          </a:p>
          <a:p>
            <a:pPr lvl="1"/>
            <a:endParaRPr lang="de-DE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s tun bei einer nicht abgedeckten Abweichung in der Sicherheitskonfiguration?</a:t>
            </a:r>
          </a:p>
          <a:p>
            <a:pPr lvl="2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n </a:t>
            </a:r>
            <a:r>
              <a:rPr lang="de-DE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stom Test schreiben</a:t>
            </a:r>
            <a:endParaRPr lang="de-DE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2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nn der Test allgemein relevant ist: Veröffentlichung möglich</a:t>
            </a:r>
          </a:p>
          <a:p>
            <a:pPr lvl="2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eige die Seite mit der Schritt-für-Schritt-Anleitung:</a:t>
            </a:r>
            <a:b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ester.dev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c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riting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tests</a:t>
            </a:r>
          </a:p>
          <a:p>
            <a:pPr lvl="1"/>
            <a:endParaRPr lang="de-DE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matierung von Testergebnissen:</a:t>
            </a:r>
          </a:p>
          <a:p>
            <a:pPr lvl="2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ukturierte Darstellung, nachvollziehbar und dokumentiert</a:t>
            </a:r>
          </a:p>
          <a:p>
            <a:pPr lvl="2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fache Rückgabe des Testergebnisses</a:t>
            </a:r>
          </a:p>
          <a:p>
            <a:pPr lvl="2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ückgabe von Microsoft Graph-Objekten</a:t>
            </a:r>
          </a:p>
          <a:p>
            <a:pPr lvl="2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matierung und strukturierte Darstellung der Graph-Objekte</a:t>
            </a:r>
          </a:p>
          <a:p>
            <a:pPr lvl="2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weis auf die MD-Files für weiterführende Informationen</a:t>
            </a:r>
          </a:p>
          <a:p>
            <a:pPr lvl="2"/>
            <a:endParaRPr lang="de-DE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endParaRPr lang="de-DE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o: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ditional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ccess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at-If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ests</a:t>
            </a:r>
          </a:p>
          <a:p>
            <a:pPr lvl="2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eige die „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at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-Option im Entra Admin CA Portal</a:t>
            </a:r>
          </a:p>
          <a:p>
            <a:pPr lvl="2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he durch einige Tests auf:</a:t>
            </a:r>
            <a:b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ester.dev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c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-what-if</a:t>
            </a:r>
            <a:endParaRPr lang="de-DE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9144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crosoft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arn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The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ditional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ccess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at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ol</a:t>
            </a:r>
            <a:b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tHub: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sperbae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ditional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Access-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lidator</a:t>
            </a:r>
            <a:b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7F0819-F280-49D4-9671-A9CB0FEC3C3C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24378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de-DE" dirty="0"/>
              <a:t>Zeige die Rechte der App</a:t>
            </a:r>
          </a:p>
          <a:p>
            <a:pPr marL="0" indent="0">
              <a:buFontTx/>
              <a:buNone/>
            </a:pPr>
            <a:r>
              <a:rPr lang="de-DE" dirty="0"/>
              <a:t>	Erkläre, welche Berechtigungen erforderlich sind und wie sie sicher vergeben werden.</a:t>
            </a:r>
          </a:p>
          <a:p>
            <a:pPr marL="0" indent="0">
              <a:buFontTx/>
              <a:buNone/>
            </a:pPr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Erläutere WIF (Workload Identity </a:t>
            </a:r>
            <a:r>
              <a:rPr lang="de-DE" dirty="0" err="1"/>
              <a:t>Federation</a:t>
            </a:r>
            <a:r>
              <a:rPr lang="de-DE" dirty="0"/>
              <a:t>)</a:t>
            </a:r>
          </a:p>
          <a:p>
            <a:pPr marL="457200" lvl="1" indent="0">
              <a:buFontTx/>
              <a:buNone/>
            </a:pPr>
            <a:r>
              <a:rPr lang="de-DE" dirty="0"/>
              <a:t>Zeige die Integration in Entra und den GitLab Pipeline Editor</a:t>
            </a:r>
          </a:p>
          <a:p>
            <a:pPr marL="457200" lvl="1" indent="0">
              <a:buFontTx/>
              <a:buNone/>
            </a:pPr>
            <a:r>
              <a:rPr lang="de-DE" dirty="0"/>
              <a:t>Verweis: </a:t>
            </a:r>
            <a:r>
              <a:rPr lang="de-DE" dirty="0" err="1"/>
              <a:t>Configure</a:t>
            </a:r>
            <a:r>
              <a:rPr lang="de-DE" dirty="0"/>
              <a:t> </a:t>
            </a:r>
            <a:r>
              <a:rPr lang="de-DE" dirty="0" err="1"/>
              <a:t>OpenID</a:t>
            </a:r>
            <a:r>
              <a:rPr lang="de-DE" dirty="0"/>
              <a:t> Connect in Azur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trieve</a:t>
            </a:r>
            <a:r>
              <a:rPr lang="de-DE" dirty="0"/>
              <a:t> </a:t>
            </a:r>
            <a:r>
              <a:rPr lang="de-DE" dirty="0" err="1"/>
              <a:t>temporary</a:t>
            </a:r>
            <a:r>
              <a:rPr lang="de-DE" dirty="0"/>
              <a:t> </a:t>
            </a:r>
            <a:r>
              <a:rPr lang="de-DE" dirty="0" err="1"/>
              <a:t>credentials</a:t>
            </a:r>
            <a:r>
              <a:rPr lang="de-DE" dirty="0"/>
              <a:t> (GitLab Docs)</a:t>
            </a:r>
          </a:p>
          <a:p>
            <a:pPr marL="0" indent="0">
              <a:buFontTx/>
              <a:buNone/>
            </a:pPr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GitLab Variablen konfigurieren</a:t>
            </a:r>
          </a:p>
          <a:p>
            <a:pPr marL="457200" lvl="1" indent="0">
              <a:buFontTx/>
              <a:buNone/>
            </a:pPr>
            <a:r>
              <a:rPr lang="de-DE" dirty="0"/>
              <a:t>Setzen der Connect-Variablen auf </a:t>
            </a:r>
            <a:r>
              <a:rPr lang="de-DE" dirty="0" err="1"/>
              <a:t>false</a:t>
            </a:r>
            <a:endParaRPr lang="de-DE" dirty="0"/>
          </a:p>
          <a:p>
            <a:pPr marL="457200" lvl="1" indent="0">
              <a:buFontTx/>
              <a:buNone/>
            </a:pPr>
            <a:r>
              <a:rPr lang="de-DE" dirty="0"/>
              <a:t>Pfad: Settings → CI/CD → Variables</a:t>
            </a:r>
          </a:p>
          <a:p>
            <a:pPr marL="0" indent="0">
              <a:buFontTx/>
              <a:buNone/>
            </a:pPr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Ausführung on Demand in GitLab</a:t>
            </a:r>
          </a:p>
          <a:p>
            <a:pPr marL="457200" lvl="1" indent="0">
              <a:buFontTx/>
              <a:buNone/>
            </a:pPr>
            <a:r>
              <a:rPr lang="de-DE" dirty="0"/>
              <a:t>Pfad: </a:t>
            </a:r>
            <a:r>
              <a:rPr lang="de-DE" dirty="0" err="1"/>
              <a:t>Build</a:t>
            </a:r>
            <a:r>
              <a:rPr lang="de-DE" dirty="0"/>
              <a:t> → Pipelines → New </a:t>
            </a:r>
            <a:r>
              <a:rPr lang="de-DE" dirty="0" err="1"/>
              <a:t>pipeline</a:t>
            </a:r>
            <a:r>
              <a:rPr lang="de-DE" dirty="0"/>
              <a:t> …</a:t>
            </a:r>
          </a:p>
          <a:p>
            <a:pPr marL="0" indent="0">
              <a:buFontTx/>
              <a:buNone/>
            </a:pPr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Geplante Ausführung in GitLab</a:t>
            </a:r>
          </a:p>
          <a:p>
            <a:pPr marL="457200" lvl="1" indent="0">
              <a:buFontTx/>
              <a:buNone/>
            </a:pPr>
            <a:r>
              <a:rPr lang="de-DE" dirty="0"/>
              <a:t>Pfad: </a:t>
            </a:r>
            <a:r>
              <a:rPr lang="de-DE" dirty="0" err="1"/>
              <a:t>Build</a:t>
            </a:r>
            <a:r>
              <a:rPr lang="de-DE" dirty="0"/>
              <a:t> → Pipeline </a:t>
            </a:r>
            <a:r>
              <a:rPr lang="de-DE" dirty="0" err="1"/>
              <a:t>schedules</a:t>
            </a:r>
            <a:r>
              <a:rPr lang="de-DE" dirty="0"/>
              <a:t> → New </a:t>
            </a:r>
            <a:r>
              <a:rPr lang="de-DE" dirty="0" err="1"/>
              <a:t>pipeline</a:t>
            </a:r>
            <a:r>
              <a:rPr lang="de-DE" dirty="0"/>
              <a:t> …</a:t>
            </a:r>
          </a:p>
          <a:p>
            <a:pPr marL="0" indent="0">
              <a:buFontTx/>
              <a:buNone/>
            </a:pPr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Hinweis zur Authentifizierung</a:t>
            </a:r>
          </a:p>
          <a:p>
            <a:pPr marL="457200" lvl="1" indent="0">
              <a:buFontTx/>
              <a:buNone/>
            </a:pPr>
            <a:r>
              <a:rPr lang="de-DE" dirty="0"/>
              <a:t>Nutzt bitte die sicherste Methode – bevorzugt extern über WIF</a:t>
            </a:r>
          </a:p>
          <a:p>
            <a:pPr marL="0" indent="0">
              <a:buFontTx/>
              <a:buNone/>
            </a:pPr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Ausblick: GitHub-Integration</a:t>
            </a:r>
          </a:p>
          <a:p>
            <a:pPr marL="457200" lvl="1" indent="0">
              <a:buFontTx/>
              <a:buNone/>
            </a:pPr>
            <a:r>
              <a:rPr lang="de-DE" dirty="0"/>
              <a:t>Ziel: Weitere Services auch für GitHub integrieren und die Lösung vereinheitlich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7F0819-F280-49D4-9671-A9CB0FEC3C3C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94890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22276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349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5962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5E41935-A6BA-C59A-85AA-973BED0C276C}"/>
              </a:ext>
            </a:extLst>
          </p:cNvPr>
          <p:cNvGrpSpPr/>
          <p:nvPr userDrawn="1"/>
        </p:nvGrpSpPr>
        <p:grpSpPr>
          <a:xfrm>
            <a:off x="309324" y="3273040"/>
            <a:ext cx="11573353" cy="3587612"/>
            <a:chOff x="309324" y="4684536"/>
            <a:chExt cx="11573353" cy="2176115"/>
          </a:xfrm>
        </p:grpSpPr>
        <p:sp>
          <p:nvSpPr>
            <p:cNvPr id="5" name="Freeform 10">
              <a:extLst>
                <a:ext uri="{FF2B5EF4-FFF2-40B4-BE49-F238E27FC236}">
                  <a16:creationId xmlns:a16="http://schemas.microsoft.com/office/drawing/2014/main" id="{26D6A40A-4A1C-A796-F8EE-E028FC658B9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580452" y="4684536"/>
              <a:ext cx="61200" cy="161567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DD3B336-811E-4F0C-18DD-95C9EDBFC7EE}"/>
                </a:ext>
              </a:extLst>
            </p:cNvPr>
            <p:cNvSpPr/>
            <p:nvPr userDrawn="1"/>
          </p:nvSpPr>
          <p:spPr>
            <a:xfrm>
              <a:off x="3523144" y="5140280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0B2F759-A522-5078-C5F5-F2D2FDBBDC08}"/>
                </a:ext>
              </a:extLst>
            </p:cNvPr>
            <p:cNvSpPr/>
            <p:nvPr userDrawn="1"/>
          </p:nvSpPr>
          <p:spPr>
            <a:xfrm>
              <a:off x="6101400" y="5294244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CD302D2-D521-2C0C-1C51-7B1CF27EACA4}"/>
                </a:ext>
              </a:extLst>
            </p:cNvPr>
            <p:cNvSpPr/>
            <p:nvPr userDrawn="1"/>
          </p:nvSpPr>
          <p:spPr>
            <a:xfrm>
              <a:off x="309324" y="5063298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E43BD3B6-9AE7-5E0B-4D10-1CC73FA9F03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429836" y="4937044"/>
              <a:ext cx="61200" cy="161567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6889B223-4C2E-F441-2738-B4E0870F1FC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43656" y="4810790"/>
              <a:ext cx="61200" cy="161567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2140262-FB6C-DD71-4C24-FF1C596755D6}"/>
                </a:ext>
              </a:extLst>
            </p:cNvPr>
            <p:cNvSpPr/>
            <p:nvPr userDrawn="1"/>
          </p:nvSpPr>
          <p:spPr>
            <a:xfrm>
              <a:off x="7372528" y="5217262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reeform 28">
              <a:extLst>
                <a:ext uri="{FF2B5EF4-FFF2-40B4-BE49-F238E27FC236}">
                  <a16:creationId xmlns:a16="http://schemas.microsoft.com/office/drawing/2014/main" id="{A31B7553-9E63-0970-4DA8-BCF8552DDD10}"/>
                </a:ext>
              </a:extLst>
            </p:cNvPr>
            <p:cNvSpPr/>
            <p:nvPr userDrawn="1"/>
          </p:nvSpPr>
          <p:spPr>
            <a:xfrm>
              <a:off x="944888" y="5679154"/>
              <a:ext cx="25200" cy="1178846"/>
            </a:xfrm>
            <a:custGeom>
              <a:avLst/>
              <a:gdLst>
                <a:gd name="connsiteX0" fmla="*/ 0 w 25200"/>
                <a:gd name="connsiteY0" fmla="*/ 0 h 1178846"/>
                <a:gd name="connsiteX1" fmla="*/ 25200 w 25200"/>
                <a:gd name="connsiteY1" fmla="*/ 0 h 1178846"/>
                <a:gd name="connsiteX2" fmla="*/ 25200 w 25200"/>
                <a:gd name="connsiteY2" fmla="*/ 1178846 h 1178846"/>
                <a:gd name="connsiteX3" fmla="*/ 0 w 25200"/>
                <a:gd name="connsiteY3" fmla="*/ 1178846 h 11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178846">
                  <a:moveTo>
                    <a:pt x="0" y="0"/>
                  </a:moveTo>
                  <a:lnTo>
                    <a:pt x="25200" y="0"/>
                  </a:lnTo>
                  <a:lnTo>
                    <a:pt x="25200" y="1178846"/>
                  </a:lnTo>
                  <a:lnTo>
                    <a:pt x="0" y="1178846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CAC4C2F4-38F2-F605-D54A-74EE044E4DC1}"/>
                </a:ext>
              </a:extLst>
            </p:cNvPr>
            <p:cNvSpPr/>
            <p:nvPr userDrawn="1"/>
          </p:nvSpPr>
          <p:spPr>
            <a:xfrm>
              <a:off x="2252016" y="6064064"/>
              <a:ext cx="25200" cy="793936"/>
            </a:xfrm>
            <a:custGeom>
              <a:avLst/>
              <a:gdLst>
                <a:gd name="connsiteX0" fmla="*/ 0 w 25200"/>
                <a:gd name="connsiteY0" fmla="*/ 0 h 793936"/>
                <a:gd name="connsiteX1" fmla="*/ 25200 w 25200"/>
                <a:gd name="connsiteY1" fmla="*/ 0 h 793936"/>
                <a:gd name="connsiteX2" fmla="*/ 25200 w 25200"/>
                <a:gd name="connsiteY2" fmla="*/ 793936 h 793936"/>
                <a:gd name="connsiteX3" fmla="*/ 0 w 25200"/>
                <a:gd name="connsiteY3" fmla="*/ 793936 h 793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793936">
                  <a:moveTo>
                    <a:pt x="0" y="0"/>
                  </a:moveTo>
                  <a:lnTo>
                    <a:pt x="25200" y="0"/>
                  </a:lnTo>
                  <a:lnTo>
                    <a:pt x="25200" y="793936"/>
                  </a:lnTo>
                  <a:lnTo>
                    <a:pt x="0" y="793936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32">
              <a:extLst>
                <a:ext uri="{FF2B5EF4-FFF2-40B4-BE49-F238E27FC236}">
                  <a16:creationId xmlns:a16="http://schemas.microsoft.com/office/drawing/2014/main" id="{B928D546-59DD-2F71-446F-6493A064FA4A}"/>
                </a:ext>
              </a:extLst>
            </p:cNvPr>
            <p:cNvSpPr/>
            <p:nvPr userDrawn="1"/>
          </p:nvSpPr>
          <p:spPr>
            <a:xfrm>
              <a:off x="2887580" y="5833118"/>
              <a:ext cx="25200" cy="1024882"/>
            </a:xfrm>
            <a:custGeom>
              <a:avLst/>
              <a:gdLst>
                <a:gd name="connsiteX0" fmla="*/ 0 w 25200"/>
                <a:gd name="connsiteY0" fmla="*/ 0 h 1024882"/>
                <a:gd name="connsiteX1" fmla="*/ 25200 w 25200"/>
                <a:gd name="connsiteY1" fmla="*/ 0 h 1024882"/>
                <a:gd name="connsiteX2" fmla="*/ 25200 w 25200"/>
                <a:gd name="connsiteY2" fmla="*/ 1024882 h 1024882"/>
                <a:gd name="connsiteX3" fmla="*/ 0 w 25200"/>
                <a:gd name="connsiteY3" fmla="*/ 1024882 h 1024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024882">
                  <a:moveTo>
                    <a:pt x="0" y="0"/>
                  </a:moveTo>
                  <a:lnTo>
                    <a:pt x="25200" y="0"/>
                  </a:lnTo>
                  <a:lnTo>
                    <a:pt x="25200" y="1024882"/>
                  </a:lnTo>
                  <a:lnTo>
                    <a:pt x="0" y="1024882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 35">
              <a:extLst>
                <a:ext uri="{FF2B5EF4-FFF2-40B4-BE49-F238E27FC236}">
                  <a16:creationId xmlns:a16="http://schemas.microsoft.com/office/drawing/2014/main" id="{2D5A94F5-2B9D-6578-59FF-D52962A6910D}"/>
                </a:ext>
              </a:extLst>
            </p:cNvPr>
            <p:cNvSpPr/>
            <p:nvPr userDrawn="1"/>
          </p:nvSpPr>
          <p:spPr>
            <a:xfrm>
              <a:off x="4158708" y="5371226"/>
              <a:ext cx="25200" cy="1486774"/>
            </a:xfrm>
            <a:custGeom>
              <a:avLst/>
              <a:gdLst>
                <a:gd name="connsiteX0" fmla="*/ 0 w 25200"/>
                <a:gd name="connsiteY0" fmla="*/ 0 h 1486774"/>
                <a:gd name="connsiteX1" fmla="*/ 25200 w 25200"/>
                <a:gd name="connsiteY1" fmla="*/ 0 h 1486774"/>
                <a:gd name="connsiteX2" fmla="*/ 25200 w 25200"/>
                <a:gd name="connsiteY2" fmla="*/ 1486774 h 1486774"/>
                <a:gd name="connsiteX3" fmla="*/ 0 w 25200"/>
                <a:gd name="connsiteY3" fmla="*/ 1486774 h 1486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486774">
                  <a:moveTo>
                    <a:pt x="0" y="0"/>
                  </a:moveTo>
                  <a:lnTo>
                    <a:pt x="25200" y="0"/>
                  </a:lnTo>
                  <a:lnTo>
                    <a:pt x="25200" y="1486774"/>
                  </a:lnTo>
                  <a:lnTo>
                    <a:pt x="0" y="148677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7E872695-F10E-0218-38ED-34C71FEF09B0}"/>
                </a:ext>
              </a:extLst>
            </p:cNvPr>
            <p:cNvSpPr/>
            <p:nvPr userDrawn="1"/>
          </p:nvSpPr>
          <p:spPr>
            <a:xfrm>
              <a:off x="4794272" y="5448208"/>
              <a:ext cx="25200" cy="1409792"/>
            </a:xfrm>
            <a:custGeom>
              <a:avLst/>
              <a:gdLst>
                <a:gd name="connsiteX0" fmla="*/ 0 w 25200"/>
                <a:gd name="connsiteY0" fmla="*/ 0 h 1409792"/>
                <a:gd name="connsiteX1" fmla="*/ 25200 w 25200"/>
                <a:gd name="connsiteY1" fmla="*/ 0 h 1409792"/>
                <a:gd name="connsiteX2" fmla="*/ 25200 w 25200"/>
                <a:gd name="connsiteY2" fmla="*/ 1409792 h 1409792"/>
                <a:gd name="connsiteX3" fmla="*/ 0 w 25200"/>
                <a:gd name="connsiteY3" fmla="*/ 1409792 h 1409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409792">
                  <a:moveTo>
                    <a:pt x="0" y="0"/>
                  </a:moveTo>
                  <a:lnTo>
                    <a:pt x="25200" y="0"/>
                  </a:lnTo>
                  <a:lnTo>
                    <a:pt x="25200" y="1409792"/>
                  </a:lnTo>
                  <a:lnTo>
                    <a:pt x="0" y="1409792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8" name="Freeform 39">
              <a:extLst>
                <a:ext uri="{FF2B5EF4-FFF2-40B4-BE49-F238E27FC236}">
                  <a16:creationId xmlns:a16="http://schemas.microsoft.com/office/drawing/2014/main" id="{DF8BDF12-8B2C-FF80-2FD8-57DDA33DDD01}"/>
                </a:ext>
              </a:extLst>
            </p:cNvPr>
            <p:cNvSpPr/>
            <p:nvPr userDrawn="1"/>
          </p:nvSpPr>
          <p:spPr>
            <a:xfrm>
              <a:off x="6736964" y="6141046"/>
              <a:ext cx="25200" cy="716954"/>
            </a:xfrm>
            <a:custGeom>
              <a:avLst/>
              <a:gdLst>
                <a:gd name="connsiteX0" fmla="*/ 0 w 25200"/>
                <a:gd name="connsiteY0" fmla="*/ 0 h 716954"/>
                <a:gd name="connsiteX1" fmla="*/ 25200 w 25200"/>
                <a:gd name="connsiteY1" fmla="*/ 0 h 716954"/>
                <a:gd name="connsiteX2" fmla="*/ 25200 w 25200"/>
                <a:gd name="connsiteY2" fmla="*/ 716954 h 716954"/>
                <a:gd name="connsiteX3" fmla="*/ 0 w 25200"/>
                <a:gd name="connsiteY3" fmla="*/ 716954 h 716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716954">
                  <a:moveTo>
                    <a:pt x="0" y="0"/>
                  </a:moveTo>
                  <a:lnTo>
                    <a:pt x="25200" y="0"/>
                  </a:lnTo>
                  <a:lnTo>
                    <a:pt x="25200" y="716954"/>
                  </a:lnTo>
                  <a:lnTo>
                    <a:pt x="0" y="71695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" name="Freeform 41">
              <a:extLst>
                <a:ext uri="{FF2B5EF4-FFF2-40B4-BE49-F238E27FC236}">
                  <a16:creationId xmlns:a16="http://schemas.microsoft.com/office/drawing/2014/main" id="{C1166CD3-7978-96F6-38F4-968F7B721A97}"/>
                </a:ext>
              </a:extLst>
            </p:cNvPr>
            <p:cNvSpPr/>
            <p:nvPr userDrawn="1"/>
          </p:nvSpPr>
          <p:spPr>
            <a:xfrm>
              <a:off x="8008092" y="5756136"/>
              <a:ext cx="25200" cy="1101864"/>
            </a:xfrm>
            <a:custGeom>
              <a:avLst/>
              <a:gdLst>
                <a:gd name="connsiteX0" fmla="*/ 0 w 25200"/>
                <a:gd name="connsiteY0" fmla="*/ 0 h 1101864"/>
                <a:gd name="connsiteX1" fmla="*/ 25200 w 25200"/>
                <a:gd name="connsiteY1" fmla="*/ 0 h 1101864"/>
                <a:gd name="connsiteX2" fmla="*/ 25200 w 25200"/>
                <a:gd name="connsiteY2" fmla="*/ 1101864 h 1101864"/>
                <a:gd name="connsiteX3" fmla="*/ 0 w 25200"/>
                <a:gd name="connsiteY3" fmla="*/ 1101864 h 110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101864">
                  <a:moveTo>
                    <a:pt x="0" y="0"/>
                  </a:moveTo>
                  <a:lnTo>
                    <a:pt x="25200" y="0"/>
                  </a:lnTo>
                  <a:lnTo>
                    <a:pt x="25200" y="1101864"/>
                  </a:lnTo>
                  <a:lnTo>
                    <a:pt x="0" y="110186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43">
              <a:extLst>
                <a:ext uri="{FF2B5EF4-FFF2-40B4-BE49-F238E27FC236}">
                  <a16:creationId xmlns:a16="http://schemas.microsoft.com/office/drawing/2014/main" id="{8B1F6092-D5CE-AA22-3C93-FCA2332027B1}"/>
                </a:ext>
              </a:extLst>
            </p:cNvPr>
            <p:cNvSpPr/>
            <p:nvPr userDrawn="1"/>
          </p:nvSpPr>
          <p:spPr>
            <a:xfrm>
              <a:off x="9315220" y="5602172"/>
              <a:ext cx="25200" cy="1255828"/>
            </a:xfrm>
            <a:custGeom>
              <a:avLst/>
              <a:gdLst>
                <a:gd name="connsiteX0" fmla="*/ 0 w 25200"/>
                <a:gd name="connsiteY0" fmla="*/ 0 h 1255828"/>
                <a:gd name="connsiteX1" fmla="*/ 25200 w 25200"/>
                <a:gd name="connsiteY1" fmla="*/ 0 h 1255828"/>
                <a:gd name="connsiteX2" fmla="*/ 25200 w 25200"/>
                <a:gd name="connsiteY2" fmla="*/ 1255828 h 1255828"/>
                <a:gd name="connsiteX3" fmla="*/ 0 w 25200"/>
                <a:gd name="connsiteY3" fmla="*/ 1255828 h 1255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255828">
                  <a:moveTo>
                    <a:pt x="0" y="0"/>
                  </a:moveTo>
                  <a:lnTo>
                    <a:pt x="25200" y="0"/>
                  </a:lnTo>
                  <a:lnTo>
                    <a:pt x="25200" y="1255828"/>
                  </a:lnTo>
                  <a:lnTo>
                    <a:pt x="0" y="125582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Freeform 45">
              <a:extLst>
                <a:ext uri="{FF2B5EF4-FFF2-40B4-BE49-F238E27FC236}">
                  <a16:creationId xmlns:a16="http://schemas.microsoft.com/office/drawing/2014/main" id="{E54594B8-EF62-933F-69FE-8E660CE8A776}"/>
                </a:ext>
              </a:extLst>
            </p:cNvPr>
            <p:cNvSpPr/>
            <p:nvPr userDrawn="1"/>
          </p:nvSpPr>
          <p:spPr>
            <a:xfrm>
              <a:off x="9950784" y="5987082"/>
              <a:ext cx="25200" cy="870918"/>
            </a:xfrm>
            <a:custGeom>
              <a:avLst/>
              <a:gdLst>
                <a:gd name="connsiteX0" fmla="*/ 0 w 25200"/>
                <a:gd name="connsiteY0" fmla="*/ 0 h 870918"/>
                <a:gd name="connsiteX1" fmla="*/ 25200 w 25200"/>
                <a:gd name="connsiteY1" fmla="*/ 0 h 870918"/>
                <a:gd name="connsiteX2" fmla="*/ 25200 w 25200"/>
                <a:gd name="connsiteY2" fmla="*/ 870918 h 870918"/>
                <a:gd name="connsiteX3" fmla="*/ 0 w 25200"/>
                <a:gd name="connsiteY3" fmla="*/ 870918 h 870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870918">
                  <a:moveTo>
                    <a:pt x="0" y="0"/>
                  </a:moveTo>
                  <a:lnTo>
                    <a:pt x="25200" y="0"/>
                  </a:lnTo>
                  <a:lnTo>
                    <a:pt x="25200" y="870918"/>
                  </a:lnTo>
                  <a:lnTo>
                    <a:pt x="0" y="87091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Freeform 47">
              <a:extLst>
                <a:ext uri="{FF2B5EF4-FFF2-40B4-BE49-F238E27FC236}">
                  <a16:creationId xmlns:a16="http://schemas.microsoft.com/office/drawing/2014/main" id="{F6C7D721-70F6-7AD7-C943-FE7FBCA029F9}"/>
                </a:ext>
              </a:extLst>
            </p:cNvPr>
            <p:cNvSpPr/>
            <p:nvPr userDrawn="1"/>
          </p:nvSpPr>
          <p:spPr>
            <a:xfrm>
              <a:off x="10586348" y="6218024"/>
              <a:ext cx="25200" cy="639977"/>
            </a:xfrm>
            <a:custGeom>
              <a:avLst/>
              <a:gdLst>
                <a:gd name="connsiteX0" fmla="*/ 0 w 25200"/>
                <a:gd name="connsiteY0" fmla="*/ 0 h 639977"/>
                <a:gd name="connsiteX1" fmla="*/ 25200 w 25200"/>
                <a:gd name="connsiteY1" fmla="*/ 0 h 639977"/>
                <a:gd name="connsiteX2" fmla="*/ 25200 w 25200"/>
                <a:gd name="connsiteY2" fmla="*/ 639977 h 639977"/>
                <a:gd name="connsiteX3" fmla="*/ 0 w 25200"/>
                <a:gd name="connsiteY3" fmla="*/ 639977 h 639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639977">
                  <a:moveTo>
                    <a:pt x="0" y="0"/>
                  </a:moveTo>
                  <a:lnTo>
                    <a:pt x="25200" y="0"/>
                  </a:lnTo>
                  <a:lnTo>
                    <a:pt x="25200" y="639977"/>
                  </a:lnTo>
                  <a:lnTo>
                    <a:pt x="0" y="639977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3" name="Freeform 49">
              <a:extLst>
                <a:ext uri="{FF2B5EF4-FFF2-40B4-BE49-F238E27FC236}">
                  <a16:creationId xmlns:a16="http://schemas.microsoft.com/office/drawing/2014/main" id="{F26AE266-962B-41B9-9606-64043F189F9C}"/>
                </a:ext>
              </a:extLst>
            </p:cNvPr>
            <p:cNvSpPr/>
            <p:nvPr userDrawn="1"/>
          </p:nvSpPr>
          <p:spPr>
            <a:xfrm>
              <a:off x="11221912" y="5525190"/>
              <a:ext cx="25200" cy="1332810"/>
            </a:xfrm>
            <a:custGeom>
              <a:avLst/>
              <a:gdLst>
                <a:gd name="connsiteX0" fmla="*/ 0 w 25200"/>
                <a:gd name="connsiteY0" fmla="*/ 0 h 1332810"/>
                <a:gd name="connsiteX1" fmla="*/ 25200 w 25200"/>
                <a:gd name="connsiteY1" fmla="*/ 0 h 1332810"/>
                <a:gd name="connsiteX2" fmla="*/ 25200 w 25200"/>
                <a:gd name="connsiteY2" fmla="*/ 1332810 h 1332810"/>
                <a:gd name="connsiteX3" fmla="*/ 0 w 25200"/>
                <a:gd name="connsiteY3" fmla="*/ 1332810 h 133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332810">
                  <a:moveTo>
                    <a:pt x="0" y="0"/>
                  </a:moveTo>
                  <a:lnTo>
                    <a:pt x="25200" y="0"/>
                  </a:lnTo>
                  <a:lnTo>
                    <a:pt x="25200" y="1332810"/>
                  </a:lnTo>
                  <a:lnTo>
                    <a:pt x="0" y="133281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4" name="Freeform 51">
              <a:extLst>
                <a:ext uri="{FF2B5EF4-FFF2-40B4-BE49-F238E27FC236}">
                  <a16:creationId xmlns:a16="http://schemas.microsoft.com/office/drawing/2014/main" id="{D2E4A96E-EF12-025D-0D78-DE5E9899FA6E}"/>
                </a:ext>
              </a:extLst>
            </p:cNvPr>
            <p:cNvSpPr/>
            <p:nvPr userDrawn="1"/>
          </p:nvSpPr>
          <p:spPr>
            <a:xfrm>
              <a:off x="11857477" y="5910100"/>
              <a:ext cx="25200" cy="947900"/>
            </a:xfrm>
            <a:custGeom>
              <a:avLst/>
              <a:gdLst>
                <a:gd name="connsiteX0" fmla="*/ 0 w 25200"/>
                <a:gd name="connsiteY0" fmla="*/ 0 h 947900"/>
                <a:gd name="connsiteX1" fmla="*/ 25200 w 25200"/>
                <a:gd name="connsiteY1" fmla="*/ 0 h 947900"/>
                <a:gd name="connsiteX2" fmla="*/ 25200 w 25200"/>
                <a:gd name="connsiteY2" fmla="*/ 947900 h 947900"/>
                <a:gd name="connsiteX3" fmla="*/ 0 w 25200"/>
                <a:gd name="connsiteY3" fmla="*/ 947900 h 94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947900">
                  <a:moveTo>
                    <a:pt x="0" y="0"/>
                  </a:moveTo>
                  <a:lnTo>
                    <a:pt x="25200" y="0"/>
                  </a:lnTo>
                  <a:lnTo>
                    <a:pt x="25200" y="947900"/>
                  </a:lnTo>
                  <a:lnTo>
                    <a:pt x="0" y="94790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C1017216-C550-97D9-B88D-918E5523D321}"/>
              </a:ext>
            </a:extLst>
          </p:cNvPr>
          <p:cNvSpPr txBox="1"/>
          <p:nvPr userDrawn="1"/>
        </p:nvSpPr>
        <p:spPr>
          <a:xfrm>
            <a:off x="10920872" y="6138370"/>
            <a:ext cx="8905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BF03E32-72BD-0347-AAE1-87B13DE37447}" type="slidenum">
              <a:rPr lang="en-ID" sz="2000" b="1" u="none" strike="noStrike" smtClean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‹Nr.›</a:t>
            </a:fld>
            <a:r>
              <a:rPr lang="en-ID" sz="2000" b="1" u="none" strike="noStrike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 </a:t>
            </a:r>
            <a:r>
              <a:rPr lang="en-ID" sz="1400" u="none" strike="noStrike" dirty="0">
                <a:solidFill>
                  <a:schemeClr val="bg1"/>
                </a:soli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/ 15</a:t>
            </a:r>
            <a:endParaRPr lang="en-US" sz="2000" dirty="0">
              <a:solidFill>
                <a:schemeClr val="bg1"/>
              </a:solidFill>
              <a:latin typeface="Play" panose="00000500000000000000" pitchFamily="2" charset="0"/>
              <a:ea typeface="Roboto Mono" pitchFamily="49" charset="0"/>
              <a:cs typeface="Space Grotesk" pitchFamily="2" charset="0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39D377CE-076D-C80C-A7BA-38DFC08885AD}"/>
              </a:ext>
            </a:extLst>
          </p:cNvPr>
          <p:cNvSpPr/>
          <p:nvPr userDrawn="1"/>
        </p:nvSpPr>
        <p:spPr>
          <a:xfrm>
            <a:off x="3368799" y="3984537"/>
            <a:ext cx="5285657" cy="439362"/>
          </a:xfrm>
          <a:prstGeom prst="roundRect">
            <a:avLst>
              <a:gd name="adj" fmla="val 18112"/>
            </a:avLst>
          </a:prstGeom>
          <a:noFill/>
          <a:ln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gradFill>
                <a:gsLst>
                  <a:gs pos="0">
                    <a:schemeClr val="accent1"/>
                  </a:gs>
                  <a:gs pos="99000">
                    <a:schemeClr val="accent2"/>
                  </a:gs>
                </a:gsLst>
                <a:lin ang="0" scaled="1"/>
              </a:gradFill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4B914A66-817E-E8D4-E30A-4254D3A3B4EA}"/>
              </a:ext>
            </a:extLst>
          </p:cNvPr>
          <p:cNvSpPr/>
          <p:nvPr userDrawn="1"/>
        </p:nvSpPr>
        <p:spPr>
          <a:xfrm>
            <a:off x="3363959" y="4686913"/>
            <a:ext cx="5340895" cy="439362"/>
          </a:xfrm>
          <a:prstGeom prst="roundRect">
            <a:avLst>
              <a:gd name="adj" fmla="val 18112"/>
            </a:avLst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gradFill>
                <a:gsLst>
                  <a:gs pos="0">
                    <a:schemeClr val="accent1"/>
                  </a:gs>
                  <a:gs pos="99000">
                    <a:schemeClr val="accent2"/>
                  </a:gs>
                </a:gsLst>
                <a:lin ang="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453447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7">
            <a:extLst>
              <a:ext uri="{FF2B5EF4-FFF2-40B4-BE49-F238E27FC236}">
                <a16:creationId xmlns:a16="http://schemas.microsoft.com/office/drawing/2014/main" id="{3018D256-3379-1261-2756-0E03D91FD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2182" y="2254310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Content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24493550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3504F6-8EDE-4217-910B-79DB465C12C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15551" y="1318989"/>
            <a:ext cx="4839150" cy="4135480"/>
          </a:xfrm>
          <a:custGeom>
            <a:avLst/>
            <a:gdLst>
              <a:gd name="connsiteX0" fmla="*/ 227534 w 4839150"/>
              <a:gd name="connsiteY0" fmla="*/ 0 h 4135480"/>
              <a:gd name="connsiteX1" fmla="*/ 4611616 w 4839150"/>
              <a:gd name="connsiteY1" fmla="*/ 0 h 4135480"/>
              <a:gd name="connsiteX2" fmla="*/ 4839150 w 4839150"/>
              <a:gd name="connsiteY2" fmla="*/ 227534 h 4135480"/>
              <a:gd name="connsiteX3" fmla="*/ 4839150 w 4839150"/>
              <a:gd name="connsiteY3" fmla="*/ 3907946 h 4135480"/>
              <a:gd name="connsiteX4" fmla="*/ 4611616 w 4839150"/>
              <a:gd name="connsiteY4" fmla="*/ 4135480 h 4135480"/>
              <a:gd name="connsiteX5" fmla="*/ 227534 w 4839150"/>
              <a:gd name="connsiteY5" fmla="*/ 4135480 h 4135480"/>
              <a:gd name="connsiteX6" fmla="*/ 0 w 4839150"/>
              <a:gd name="connsiteY6" fmla="*/ 3907946 h 4135480"/>
              <a:gd name="connsiteX7" fmla="*/ 0 w 4839150"/>
              <a:gd name="connsiteY7" fmla="*/ 227534 h 4135480"/>
              <a:gd name="connsiteX8" fmla="*/ 227534 w 4839150"/>
              <a:gd name="connsiteY8" fmla="*/ 0 h 4135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39150" h="4135480">
                <a:moveTo>
                  <a:pt x="227534" y="0"/>
                </a:moveTo>
                <a:lnTo>
                  <a:pt x="4611616" y="0"/>
                </a:lnTo>
                <a:cubicBezTo>
                  <a:pt x="4737280" y="0"/>
                  <a:pt x="4839150" y="101870"/>
                  <a:pt x="4839150" y="227534"/>
                </a:cubicBezTo>
                <a:lnTo>
                  <a:pt x="4839150" y="3907946"/>
                </a:lnTo>
                <a:cubicBezTo>
                  <a:pt x="4839150" y="4033610"/>
                  <a:pt x="4737280" y="4135480"/>
                  <a:pt x="4611616" y="4135480"/>
                </a:cubicBezTo>
                <a:lnTo>
                  <a:pt x="227534" y="4135480"/>
                </a:lnTo>
                <a:cubicBezTo>
                  <a:pt x="101870" y="4135480"/>
                  <a:pt x="0" y="4033610"/>
                  <a:pt x="0" y="3907946"/>
                </a:cubicBezTo>
                <a:lnTo>
                  <a:pt x="0" y="227534"/>
                </a:lnTo>
                <a:cubicBezTo>
                  <a:pt x="0" y="101870"/>
                  <a:pt x="101870" y="0"/>
                  <a:pt x="22753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38C8C8C-12B2-84CA-7E5C-A63436970E68}"/>
              </a:ext>
            </a:extLst>
          </p:cNvPr>
          <p:cNvGrpSpPr/>
          <p:nvPr userDrawn="1"/>
        </p:nvGrpSpPr>
        <p:grpSpPr>
          <a:xfrm>
            <a:off x="309324" y="3273040"/>
            <a:ext cx="11573353" cy="3587612"/>
            <a:chOff x="309324" y="4684536"/>
            <a:chExt cx="11573353" cy="2176115"/>
          </a:xfrm>
        </p:grpSpPr>
        <p:sp>
          <p:nvSpPr>
            <p:cNvPr id="5" name="Freeform 10">
              <a:extLst>
                <a:ext uri="{FF2B5EF4-FFF2-40B4-BE49-F238E27FC236}">
                  <a16:creationId xmlns:a16="http://schemas.microsoft.com/office/drawing/2014/main" id="{96DC8660-A7DE-1797-BE09-59F4B41787E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580452" y="4684536"/>
              <a:ext cx="61200" cy="161567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DFD2CC6-ABAF-AA2D-F7E1-8D0B077927A0}"/>
                </a:ext>
              </a:extLst>
            </p:cNvPr>
            <p:cNvSpPr/>
            <p:nvPr userDrawn="1"/>
          </p:nvSpPr>
          <p:spPr>
            <a:xfrm>
              <a:off x="3523144" y="5140280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947E7BD-ACB1-0440-7E22-7D25FF3147C8}"/>
                </a:ext>
              </a:extLst>
            </p:cNvPr>
            <p:cNvSpPr/>
            <p:nvPr userDrawn="1"/>
          </p:nvSpPr>
          <p:spPr>
            <a:xfrm>
              <a:off x="6101400" y="5294244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0ED00A4-3B8D-D2D8-765A-61E83952DE04}"/>
                </a:ext>
              </a:extLst>
            </p:cNvPr>
            <p:cNvSpPr/>
            <p:nvPr userDrawn="1"/>
          </p:nvSpPr>
          <p:spPr>
            <a:xfrm>
              <a:off x="309324" y="5063298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0B20CAFD-D254-C0B8-D7DC-534A91BFFD2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429836" y="4937044"/>
              <a:ext cx="61200" cy="161567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DDDF5807-8008-69AC-E580-88DA4260698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43656" y="4810790"/>
              <a:ext cx="61200" cy="161567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813F47A-9EFC-F6A2-79CB-41C1A1021565}"/>
                </a:ext>
              </a:extLst>
            </p:cNvPr>
            <p:cNvSpPr/>
            <p:nvPr userDrawn="1"/>
          </p:nvSpPr>
          <p:spPr>
            <a:xfrm>
              <a:off x="7372528" y="5217262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reeform 28">
              <a:extLst>
                <a:ext uri="{FF2B5EF4-FFF2-40B4-BE49-F238E27FC236}">
                  <a16:creationId xmlns:a16="http://schemas.microsoft.com/office/drawing/2014/main" id="{3A865A4E-CF0C-5569-D028-08E6FEAC0A10}"/>
                </a:ext>
              </a:extLst>
            </p:cNvPr>
            <p:cNvSpPr/>
            <p:nvPr userDrawn="1"/>
          </p:nvSpPr>
          <p:spPr>
            <a:xfrm>
              <a:off x="944888" y="5679154"/>
              <a:ext cx="25200" cy="1178846"/>
            </a:xfrm>
            <a:custGeom>
              <a:avLst/>
              <a:gdLst>
                <a:gd name="connsiteX0" fmla="*/ 0 w 25200"/>
                <a:gd name="connsiteY0" fmla="*/ 0 h 1178846"/>
                <a:gd name="connsiteX1" fmla="*/ 25200 w 25200"/>
                <a:gd name="connsiteY1" fmla="*/ 0 h 1178846"/>
                <a:gd name="connsiteX2" fmla="*/ 25200 w 25200"/>
                <a:gd name="connsiteY2" fmla="*/ 1178846 h 1178846"/>
                <a:gd name="connsiteX3" fmla="*/ 0 w 25200"/>
                <a:gd name="connsiteY3" fmla="*/ 1178846 h 11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178846">
                  <a:moveTo>
                    <a:pt x="0" y="0"/>
                  </a:moveTo>
                  <a:lnTo>
                    <a:pt x="25200" y="0"/>
                  </a:lnTo>
                  <a:lnTo>
                    <a:pt x="25200" y="1178846"/>
                  </a:lnTo>
                  <a:lnTo>
                    <a:pt x="0" y="1178846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08974E83-35A0-36F5-DD04-58A06D1EF717}"/>
                </a:ext>
              </a:extLst>
            </p:cNvPr>
            <p:cNvSpPr/>
            <p:nvPr userDrawn="1"/>
          </p:nvSpPr>
          <p:spPr>
            <a:xfrm>
              <a:off x="2252016" y="6064064"/>
              <a:ext cx="25200" cy="793936"/>
            </a:xfrm>
            <a:custGeom>
              <a:avLst/>
              <a:gdLst>
                <a:gd name="connsiteX0" fmla="*/ 0 w 25200"/>
                <a:gd name="connsiteY0" fmla="*/ 0 h 793936"/>
                <a:gd name="connsiteX1" fmla="*/ 25200 w 25200"/>
                <a:gd name="connsiteY1" fmla="*/ 0 h 793936"/>
                <a:gd name="connsiteX2" fmla="*/ 25200 w 25200"/>
                <a:gd name="connsiteY2" fmla="*/ 793936 h 793936"/>
                <a:gd name="connsiteX3" fmla="*/ 0 w 25200"/>
                <a:gd name="connsiteY3" fmla="*/ 793936 h 793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793936">
                  <a:moveTo>
                    <a:pt x="0" y="0"/>
                  </a:moveTo>
                  <a:lnTo>
                    <a:pt x="25200" y="0"/>
                  </a:lnTo>
                  <a:lnTo>
                    <a:pt x="25200" y="793936"/>
                  </a:lnTo>
                  <a:lnTo>
                    <a:pt x="0" y="793936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32">
              <a:extLst>
                <a:ext uri="{FF2B5EF4-FFF2-40B4-BE49-F238E27FC236}">
                  <a16:creationId xmlns:a16="http://schemas.microsoft.com/office/drawing/2014/main" id="{BBD9B486-F2F2-FE0B-686E-185D79C21C4B}"/>
                </a:ext>
              </a:extLst>
            </p:cNvPr>
            <p:cNvSpPr/>
            <p:nvPr userDrawn="1"/>
          </p:nvSpPr>
          <p:spPr>
            <a:xfrm>
              <a:off x="2887580" y="5833118"/>
              <a:ext cx="25200" cy="1024882"/>
            </a:xfrm>
            <a:custGeom>
              <a:avLst/>
              <a:gdLst>
                <a:gd name="connsiteX0" fmla="*/ 0 w 25200"/>
                <a:gd name="connsiteY0" fmla="*/ 0 h 1024882"/>
                <a:gd name="connsiteX1" fmla="*/ 25200 w 25200"/>
                <a:gd name="connsiteY1" fmla="*/ 0 h 1024882"/>
                <a:gd name="connsiteX2" fmla="*/ 25200 w 25200"/>
                <a:gd name="connsiteY2" fmla="*/ 1024882 h 1024882"/>
                <a:gd name="connsiteX3" fmla="*/ 0 w 25200"/>
                <a:gd name="connsiteY3" fmla="*/ 1024882 h 1024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024882">
                  <a:moveTo>
                    <a:pt x="0" y="0"/>
                  </a:moveTo>
                  <a:lnTo>
                    <a:pt x="25200" y="0"/>
                  </a:lnTo>
                  <a:lnTo>
                    <a:pt x="25200" y="1024882"/>
                  </a:lnTo>
                  <a:lnTo>
                    <a:pt x="0" y="1024882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 35">
              <a:extLst>
                <a:ext uri="{FF2B5EF4-FFF2-40B4-BE49-F238E27FC236}">
                  <a16:creationId xmlns:a16="http://schemas.microsoft.com/office/drawing/2014/main" id="{6429BF05-D74D-6B3C-F32D-B4615ECAA97A}"/>
                </a:ext>
              </a:extLst>
            </p:cNvPr>
            <p:cNvSpPr/>
            <p:nvPr userDrawn="1"/>
          </p:nvSpPr>
          <p:spPr>
            <a:xfrm>
              <a:off x="4158708" y="5371226"/>
              <a:ext cx="25200" cy="1486774"/>
            </a:xfrm>
            <a:custGeom>
              <a:avLst/>
              <a:gdLst>
                <a:gd name="connsiteX0" fmla="*/ 0 w 25200"/>
                <a:gd name="connsiteY0" fmla="*/ 0 h 1486774"/>
                <a:gd name="connsiteX1" fmla="*/ 25200 w 25200"/>
                <a:gd name="connsiteY1" fmla="*/ 0 h 1486774"/>
                <a:gd name="connsiteX2" fmla="*/ 25200 w 25200"/>
                <a:gd name="connsiteY2" fmla="*/ 1486774 h 1486774"/>
                <a:gd name="connsiteX3" fmla="*/ 0 w 25200"/>
                <a:gd name="connsiteY3" fmla="*/ 1486774 h 1486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486774">
                  <a:moveTo>
                    <a:pt x="0" y="0"/>
                  </a:moveTo>
                  <a:lnTo>
                    <a:pt x="25200" y="0"/>
                  </a:lnTo>
                  <a:lnTo>
                    <a:pt x="25200" y="1486774"/>
                  </a:lnTo>
                  <a:lnTo>
                    <a:pt x="0" y="148677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1EA0C857-9D0C-94F3-011B-99C1B99ACE70}"/>
                </a:ext>
              </a:extLst>
            </p:cNvPr>
            <p:cNvSpPr/>
            <p:nvPr userDrawn="1"/>
          </p:nvSpPr>
          <p:spPr>
            <a:xfrm>
              <a:off x="4794272" y="5448208"/>
              <a:ext cx="25200" cy="1409792"/>
            </a:xfrm>
            <a:custGeom>
              <a:avLst/>
              <a:gdLst>
                <a:gd name="connsiteX0" fmla="*/ 0 w 25200"/>
                <a:gd name="connsiteY0" fmla="*/ 0 h 1409792"/>
                <a:gd name="connsiteX1" fmla="*/ 25200 w 25200"/>
                <a:gd name="connsiteY1" fmla="*/ 0 h 1409792"/>
                <a:gd name="connsiteX2" fmla="*/ 25200 w 25200"/>
                <a:gd name="connsiteY2" fmla="*/ 1409792 h 1409792"/>
                <a:gd name="connsiteX3" fmla="*/ 0 w 25200"/>
                <a:gd name="connsiteY3" fmla="*/ 1409792 h 1409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409792">
                  <a:moveTo>
                    <a:pt x="0" y="0"/>
                  </a:moveTo>
                  <a:lnTo>
                    <a:pt x="25200" y="0"/>
                  </a:lnTo>
                  <a:lnTo>
                    <a:pt x="25200" y="1409792"/>
                  </a:lnTo>
                  <a:lnTo>
                    <a:pt x="0" y="1409792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8" name="Freeform 39">
              <a:extLst>
                <a:ext uri="{FF2B5EF4-FFF2-40B4-BE49-F238E27FC236}">
                  <a16:creationId xmlns:a16="http://schemas.microsoft.com/office/drawing/2014/main" id="{93E58E94-F84D-BB6F-D852-388C5C7B87C6}"/>
                </a:ext>
              </a:extLst>
            </p:cNvPr>
            <p:cNvSpPr/>
            <p:nvPr userDrawn="1"/>
          </p:nvSpPr>
          <p:spPr>
            <a:xfrm>
              <a:off x="6736964" y="6141046"/>
              <a:ext cx="25200" cy="716954"/>
            </a:xfrm>
            <a:custGeom>
              <a:avLst/>
              <a:gdLst>
                <a:gd name="connsiteX0" fmla="*/ 0 w 25200"/>
                <a:gd name="connsiteY0" fmla="*/ 0 h 716954"/>
                <a:gd name="connsiteX1" fmla="*/ 25200 w 25200"/>
                <a:gd name="connsiteY1" fmla="*/ 0 h 716954"/>
                <a:gd name="connsiteX2" fmla="*/ 25200 w 25200"/>
                <a:gd name="connsiteY2" fmla="*/ 716954 h 716954"/>
                <a:gd name="connsiteX3" fmla="*/ 0 w 25200"/>
                <a:gd name="connsiteY3" fmla="*/ 716954 h 716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716954">
                  <a:moveTo>
                    <a:pt x="0" y="0"/>
                  </a:moveTo>
                  <a:lnTo>
                    <a:pt x="25200" y="0"/>
                  </a:lnTo>
                  <a:lnTo>
                    <a:pt x="25200" y="716954"/>
                  </a:lnTo>
                  <a:lnTo>
                    <a:pt x="0" y="71695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" name="Freeform 41">
              <a:extLst>
                <a:ext uri="{FF2B5EF4-FFF2-40B4-BE49-F238E27FC236}">
                  <a16:creationId xmlns:a16="http://schemas.microsoft.com/office/drawing/2014/main" id="{56119E96-F459-D357-0490-F694081D9E5B}"/>
                </a:ext>
              </a:extLst>
            </p:cNvPr>
            <p:cNvSpPr/>
            <p:nvPr userDrawn="1"/>
          </p:nvSpPr>
          <p:spPr>
            <a:xfrm>
              <a:off x="8008092" y="5756136"/>
              <a:ext cx="25200" cy="1101864"/>
            </a:xfrm>
            <a:custGeom>
              <a:avLst/>
              <a:gdLst>
                <a:gd name="connsiteX0" fmla="*/ 0 w 25200"/>
                <a:gd name="connsiteY0" fmla="*/ 0 h 1101864"/>
                <a:gd name="connsiteX1" fmla="*/ 25200 w 25200"/>
                <a:gd name="connsiteY1" fmla="*/ 0 h 1101864"/>
                <a:gd name="connsiteX2" fmla="*/ 25200 w 25200"/>
                <a:gd name="connsiteY2" fmla="*/ 1101864 h 1101864"/>
                <a:gd name="connsiteX3" fmla="*/ 0 w 25200"/>
                <a:gd name="connsiteY3" fmla="*/ 1101864 h 110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101864">
                  <a:moveTo>
                    <a:pt x="0" y="0"/>
                  </a:moveTo>
                  <a:lnTo>
                    <a:pt x="25200" y="0"/>
                  </a:lnTo>
                  <a:lnTo>
                    <a:pt x="25200" y="1101864"/>
                  </a:lnTo>
                  <a:lnTo>
                    <a:pt x="0" y="110186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43">
              <a:extLst>
                <a:ext uri="{FF2B5EF4-FFF2-40B4-BE49-F238E27FC236}">
                  <a16:creationId xmlns:a16="http://schemas.microsoft.com/office/drawing/2014/main" id="{0A9E32C8-9771-0891-BD42-B70B2AAE4227}"/>
                </a:ext>
              </a:extLst>
            </p:cNvPr>
            <p:cNvSpPr/>
            <p:nvPr userDrawn="1"/>
          </p:nvSpPr>
          <p:spPr>
            <a:xfrm>
              <a:off x="9315220" y="5602172"/>
              <a:ext cx="25200" cy="1255828"/>
            </a:xfrm>
            <a:custGeom>
              <a:avLst/>
              <a:gdLst>
                <a:gd name="connsiteX0" fmla="*/ 0 w 25200"/>
                <a:gd name="connsiteY0" fmla="*/ 0 h 1255828"/>
                <a:gd name="connsiteX1" fmla="*/ 25200 w 25200"/>
                <a:gd name="connsiteY1" fmla="*/ 0 h 1255828"/>
                <a:gd name="connsiteX2" fmla="*/ 25200 w 25200"/>
                <a:gd name="connsiteY2" fmla="*/ 1255828 h 1255828"/>
                <a:gd name="connsiteX3" fmla="*/ 0 w 25200"/>
                <a:gd name="connsiteY3" fmla="*/ 1255828 h 1255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255828">
                  <a:moveTo>
                    <a:pt x="0" y="0"/>
                  </a:moveTo>
                  <a:lnTo>
                    <a:pt x="25200" y="0"/>
                  </a:lnTo>
                  <a:lnTo>
                    <a:pt x="25200" y="1255828"/>
                  </a:lnTo>
                  <a:lnTo>
                    <a:pt x="0" y="125582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Freeform 45">
              <a:extLst>
                <a:ext uri="{FF2B5EF4-FFF2-40B4-BE49-F238E27FC236}">
                  <a16:creationId xmlns:a16="http://schemas.microsoft.com/office/drawing/2014/main" id="{F9046FD4-E7A0-D8EE-C362-8D6082B8773A}"/>
                </a:ext>
              </a:extLst>
            </p:cNvPr>
            <p:cNvSpPr/>
            <p:nvPr userDrawn="1"/>
          </p:nvSpPr>
          <p:spPr>
            <a:xfrm>
              <a:off x="9950784" y="5987082"/>
              <a:ext cx="25200" cy="870918"/>
            </a:xfrm>
            <a:custGeom>
              <a:avLst/>
              <a:gdLst>
                <a:gd name="connsiteX0" fmla="*/ 0 w 25200"/>
                <a:gd name="connsiteY0" fmla="*/ 0 h 870918"/>
                <a:gd name="connsiteX1" fmla="*/ 25200 w 25200"/>
                <a:gd name="connsiteY1" fmla="*/ 0 h 870918"/>
                <a:gd name="connsiteX2" fmla="*/ 25200 w 25200"/>
                <a:gd name="connsiteY2" fmla="*/ 870918 h 870918"/>
                <a:gd name="connsiteX3" fmla="*/ 0 w 25200"/>
                <a:gd name="connsiteY3" fmla="*/ 870918 h 870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870918">
                  <a:moveTo>
                    <a:pt x="0" y="0"/>
                  </a:moveTo>
                  <a:lnTo>
                    <a:pt x="25200" y="0"/>
                  </a:lnTo>
                  <a:lnTo>
                    <a:pt x="25200" y="870918"/>
                  </a:lnTo>
                  <a:lnTo>
                    <a:pt x="0" y="87091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Freeform 47">
              <a:extLst>
                <a:ext uri="{FF2B5EF4-FFF2-40B4-BE49-F238E27FC236}">
                  <a16:creationId xmlns:a16="http://schemas.microsoft.com/office/drawing/2014/main" id="{7DB82F58-F94B-228E-E7B3-51747140793A}"/>
                </a:ext>
              </a:extLst>
            </p:cNvPr>
            <p:cNvSpPr/>
            <p:nvPr userDrawn="1"/>
          </p:nvSpPr>
          <p:spPr>
            <a:xfrm>
              <a:off x="10586348" y="6218024"/>
              <a:ext cx="25200" cy="639977"/>
            </a:xfrm>
            <a:custGeom>
              <a:avLst/>
              <a:gdLst>
                <a:gd name="connsiteX0" fmla="*/ 0 w 25200"/>
                <a:gd name="connsiteY0" fmla="*/ 0 h 639977"/>
                <a:gd name="connsiteX1" fmla="*/ 25200 w 25200"/>
                <a:gd name="connsiteY1" fmla="*/ 0 h 639977"/>
                <a:gd name="connsiteX2" fmla="*/ 25200 w 25200"/>
                <a:gd name="connsiteY2" fmla="*/ 639977 h 639977"/>
                <a:gd name="connsiteX3" fmla="*/ 0 w 25200"/>
                <a:gd name="connsiteY3" fmla="*/ 639977 h 639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639977">
                  <a:moveTo>
                    <a:pt x="0" y="0"/>
                  </a:moveTo>
                  <a:lnTo>
                    <a:pt x="25200" y="0"/>
                  </a:lnTo>
                  <a:lnTo>
                    <a:pt x="25200" y="639977"/>
                  </a:lnTo>
                  <a:lnTo>
                    <a:pt x="0" y="639977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3" name="Freeform 49">
              <a:extLst>
                <a:ext uri="{FF2B5EF4-FFF2-40B4-BE49-F238E27FC236}">
                  <a16:creationId xmlns:a16="http://schemas.microsoft.com/office/drawing/2014/main" id="{872E35BC-8AAA-135F-FAE7-AB5EDE0679FE}"/>
                </a:ext>
              </a:extLst>
            </p:cNvPr>
            <p:cNvSpPr/>
            <p:nvPr userDrawn="1"/>
          </p:nvSpPr>
          <p:spPr>
            <a:xfrm>
              <a:off x="11221912" y="5525190"/>
              <a:ext cx="25200" cy="1332810"/>
            </a:xfrm>
            <a:custGeom>
              <a:avLst/>
              <a:gdLst>
                <a:gd name="connsiteX0" fmla="*/ 0 w 25200"/>
                <a:gd name="connsiteY0" fmla="*/ 0 h 1332810"/>
                <a:gd name="connsiteX1" fmla="*/ 25200 w 25200"/>
                <a:gd name="connsiteY1" fmla="*/ 0 h 1332810"/>
                <a:gd name="connsiteX2" fmla="*/ 25200 w 25200"/>
                <a:gd name="connsiteY2" fmla="*/ 1332810 h 1332810"/>
                <a:gd name="connsiteX3" fmla="*/ 0 w 25200"/>
                <a:gd name="connsiteY3" fmla="*/ 1332810 h 133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332810">
                  <a:moveTo>
                    <a:pt x="0" y="0"/>
                  </a:moveTo>
                  <a:lnTo>
                    <a:pt x="25200" y="0"/>
                  </a:lnTo>
                  <a:lnTo>
                    <a:pt x="25200" y="1332810"/>
                  </a:lnTo>
                  <a:lnTo>
                    <a:pt x="0" y="133281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4" name="Freeform 51">
              <a:extLst>
                <a:ext uri="{FF2B5EF4-FFF2-40B4-BE49-F238E27FC236}">
                  <a16:creationId xmlns:a16="http://schemas.microsoft.com/office/drawing/2014/main" id="{3B74F4D4-163D-AD15-D39A-35B8634EA5D8}"/>
                </a:ext>
              </a:extLst>
            </p:cNvPr>
            <p:cNvSpPr/>
            <p:nvPr userDrawn="1"/>
          </p:nvSpPr>
          <p:spPr>
            <a:xfrm>
              <a:off x="11857477" y="5910100"/>
              <a:ext cx="25200" cy="947900"/>
            </a:xfrm>
            <a:custGeom>
              <a:avLst/>
              <a:gdLst>
                <a:gd name="connsiteX0" fmla="*/ 0 w 25200"/>
                <a:gd name="connsiteY0" fmla="*/ 0 h 947900"/>
                <a:gd name="connsiteX1" fmla="*/ 25200 w 25200"/>
                <a:gd name="connsiteY1" fmla="*/ 0 h 947900"/>
                <a:gd name="connsiteX2" fmla="*/ 25200 w 25200"/>
                <a:gd name="connsiteY2" fmla="*/ 947900 h 947900"/>
                <a:gd name="connsiteX3" fmla="*/ 0 w 25200"/>
                <a:gd name="connsiteY3" fmla="*/ 947900 h 94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947900">
                  <a:moveTo>
                    <a:pt x="0" y="0"/>
                  </a:moveTo>
                  <a:lnTo>
                    <a:pt x="25200" y="0"/>
                  </a:lnTo>
                  <a:lnTo>
                    <a:pt x="25200" y="947900"/>
                  </a:lnTo>
                  <a:lnTo>
                    <a:pt x="0" y="94790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3C18B3CF-DAA6-BF31-CA98-DD032E6C3A56}"/>
              </a:ext>
            </a:extLst>
          </p:cNvPr>
          <p:cNvSpPr txBox="1"/>
          <p:nvPr userDrawn="1"/>
        </p:nvSpPr>
        <p:spPr>
          <a:xfrm>
            <a:off x="10920872" y="6138370"/>
            <a:ext cx="8905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BF03E32-72BD-0347-AAE1-87B13DE37447}" type="slidenum">
              <a:rPr lang="en-ID" sz="2000" b="1" u="none" strike="noStrike" smtClean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‹Nr.›</a:t>
            </a:fld>
            <a:r>
              <a:rPr lang="en-ID" sz="2000" b="1" u="none" strike="noStrike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 </a:t>
            </a:r>
            <a:r>
              <a:rPr lang="en-ID" sz="1400" u="none" strike="noStrike" dirty="0">
                <a:solidFill>
                  <a:schemeClr val="bg1"/>
                </a:soli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/ 15</a:t>
            </a:r>
            <a:endParaRPr lang="en-US" sz="2000" dirty="0">
              <a:solidFill>
                <a:schemeClr val="bg1"/>
              </a:solidFill>
              <a:latin typeface="Play" panose="00000500000000000000" pitchFamily="2" charset="0"/>
              <a:ea typeface="Roboto Mono" pitchFamily="49" charset="0"/>
              <a:cs typeface="Space Grotesk" pitchFamily="2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24E4FC-5965-0866-ABE5-FCF5ACA99B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35728" y="1318989"/>
            <a:ext cx="4686184" cy="41354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itle 7">
            <a:extLst>
              <a:ext uri="{FF2B5EF4-FFF2-40B4-BE49-F238E27FC236}">
                <a16:creationId xmlns:a16="http://schemas.microsoft.com/office/drawing/2014/main" id="{0E4913D5-50CF-76F6-2AB4-8F894A7B27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38452946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6415C6E-8030-42E1-941C-DEE0BB5F3CA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90581" y="1315633"/>
            <a:ext cx="3621729" cy="1913587"/>
          </a:xfrm>
          <a:prstGeom prst="roundRect">
            <a:avLst>
              <a:gd name="adj" fmla="val 9474"/>
            </a:avLst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AA23D2D-A44A-42C2-8E26-B80B40E85F0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690581" y="3579174"/>
            <a:ext cx="3621729" cy="1913587"/>
          </a:xfrm>
          <a:prstGeom prst="roundRect">
            <a:avLst>
              <a:gd name="adj" fmla="val 10284"/>
            </a:avLst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695162-40C1-C894-1E34-62B2690F2B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35728" y="1318989"/>
            <a:ext cx="4686184" cy="41354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72C930D0-80DD-075B-7012-F7DC648641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34498527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0507F67-E976-446F-AF7B-7FF42BABE20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26611" y="1701364"/>
            <a:ext cx="1350350" cy="1350350"/>
          </a:xfrm>
          <a:custGeom>
            <a:avLst/>
            <a:gdLst>
              <a:gd name="connsiteX0" fmla="*/ 225063 w 1350350"/>
              <a:gd name="connsiteY0" fmla="*/ 0 h 1350350"/>
              <a:gd name="connsiteX1" fmla="*/ 1125287 w 1350350"/>
              <a:gd name="connsiteY1" fmla="*/ 0 h 1350350"/>
              <a:gd name="connsiteX2" fmla="*/ 1350350 w 1350350"/>
              <a:gd name="connsiteY2" fmla="*/ 225063 h 1350350"/>
              <a:gd name="connsiteX3" fmla="*/ 1350350 w 1350350"/>
              <a:gd name="connsiteY3" fmla="*/ 1125287 h 1350350"/>
              <a:gd name="connsiteX4" fmla="*/ 1284431 w 1350350"/>
              <a:gd name="connsiteY4" fmla="*/ 1284431 h 1350350"/>
              <a:gd name="connsiteX5" fmla="*/ 1277564 w 1350350"/>
              <a:gd name="connsiteY5" fmla="*/ 1290096 h 1350350"/>
              <a:gd name="connsiteX6" fmla="*/ 1277564 w 1350350"/>
              <a:gd name="connsiteY6" fmla="*/ 1297424 h 1350350"/>
              <a:gd name="connsiteX7" fmla="*/ 1268683 w 1350350"/>
              <a:gd name="connsiteY7" fmla="*/ 1297424 h 1350350"/>
              <a:gd name="connsiteX8" fmla="*/ 1251122 w 1350350"/>
              <a:gd name="connsiteY8" fmla="*/ 1311913 h 1350350"/>
              <a:gd name="connsiteX9" fmla="*/ 1125287 w 1350350"/>
              <a:gd name="connsiteY9" fmla="*/ 1350350 h 1350350"/>
              <a:gd name="connsiteX10" fmla="*/ 225063 w 1350350"/>
              <a:gd name="connsiteY10" fmla="*/ 1350350 h 1350350"/>
              <a:gd name="connsiteX11" fmla="*/ 0 w 1350350"/>
              <a:gd name="connsiteY11" fmla="*/ 1125287 h 1350350"/>
              <a:gd name="connsiteX12" fmla="*/ 0 w 1350350"/>
              <a:gd name="connsiteY12" fmla="*/ 225063 h 1350350"/>
              <a:gd name="connsiteX13" fmla="*/ 225063 w 1350350"/>
              <a:gd name="connsiteY13" fmla="*/ 0 h 1350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50350" h="1350350">
                <a:moveTo>
                  <a:pt x="225063" y="0"/>
                </a:moveTo>
                <a:lnTo>
                  <a:pt x="1125287" y="0"/>
                </a:lnTo>
                <a:cubicBezTo>
                  <a:pt x="1249586" y="0"/>
                  <a:pt x="1350350" y="100764"/>
                  <a:pt x="1350350" y="225063"/>
                </a:cubicBezTo>
                <a:lnTo>
                  <a:pt x="1350350" y="1125287"/>
                </a:lnTo>
                <a:cubicBezTo>
                  <a:pt x="1350350" y="1187437"/>
                  <a:pt x="1325159" y="1243702"/>
                  <a:pt x="1284431" y="1284431"/>
                </a:cubicBezTo>
                <a:lnTo>
                  <a:pt x="1277564" y="1290096"/>
                </a:lnTo>
                <a:lnTo>
                  <a:pt x="1277564" y="1297424"/>
                </a:lnTo>
                <a:lnTo>
                  <a:pt x="1268683" y="1297424"/>
                </a:lnTo>
                <a:lnTo>
                  <a:pt x="1251122" y="1311913"/>
                </a:lnTo>
                <a:cubicBezTo>
                  <a:pt x="1215202" y="1336180"/>
                  <a:pt x="1171899" y="1350350"/>
                  <a:pt x="1125287" y="1350350"/>
                </a:cubicBezTo>
                <a:lnTo>
                  <a:pt x="225063" y="1350350"/>
                </a:lnTo>
                <a:cubicBezTo>
                  <a:pt x="100764" y="1350350"/>
                  <a:pt x="0" y="1249586"/>
                  <a:pt x="0" y="1125287"/>
                </a:cubicBezTo>
                <a:lnTo>
                  <a:pt x="0" y="225063"/>
                </a:lnTo>
                <a:cubicBezTo>
                  <a:pt x="0" y="100764"/>
                  <a:pt x="100764" y="0"/>
                  <a:pt x="22506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FC727B8-D6D9-43EF-8679-D00E9D67899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25831" y="3825875"/>
            <a:ext cx="1350962" cy="1350963"/>
          </a:xfrm>
          <a:custGeom>
            <a:avLst/>
            <a:gdLst>
              <a:gd name="connsiteX0" fmla="*/ 225165 w 1350962"/>
              <a:gd name="connsiteY0" fmla="*/ 0 h 1350963"/>
              <a:gd name="connsiteX1" fmla="*/ 1125797 w 1350962"/>
              <a:gd name="connsiteY1" fmla="*/ 0 h 1350963"/>
              <a:gd name="connsiteX2" fmla="*/ 1350962 w 1350962"/>
              <a:gd name="connsiteY2" fmla="*/ 225165 h 1350963"/>
              <a:gd name="connsiteX3" fmla="*/ 1350962 w 1350962"/>
              <a:gd name="connsiteY3" fmla="*/ 1125798 h 1350963"/>
              <a:gd name="connsiteX4" fmla="*/ 1125797 w 1350962"/>
              <a:gd name="connsiteY4" fmla="*/ 1350963 h 1350963"/>
              <a:gd name="connsiteX5" fmla="*/ 225165 w 1350962"/>
              <a:gd name="connsiteY5" fmla="*/ 1350963 h 1350963"/>
              <a:gd name="connsiteX6" fmla="*/ 0 w 1350962"/>
              <a:gd name="connsiteY6" fmla="*/ 1125798 h 1350963"/>
              <a:gd name="connsiteX7" fmla="*/ 0 w 1350962"/>
              <a:gd name="connsiteY7" fmla="*/ 225165 h 1350963"/>
              <a:gd name="connsiteX8" fmla="*/ 225165 w 1350962"/>
              <a:gd name="connsiteY8" fmla="*/ 0 h 1350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50962" h="1350963">
                <a:moveTo>
                  <a:pt x="225165" y="0"/>
                </a:moveTo>
                <a:lnTo>
                  <a:pt x="1125797" y="0"/>
                </a:lnTo>
                <a:cubicBezTo>
                  <a:pt x="1250152" y="0"/>
                  <a:pt x="1350962" y="100810"/>
                  <a:pt x="1350962" y="225165"/>
                </a:cubicBezTo>
                <a:lnTo>
                  <a:pt x="1350962" y="1125798"/>
                </a:lnTo>
                <a:cubicBezTo>
                  <a:pt x="1350962" y="1250153"/>
                  <a:pt x="1250152" y="1350963"/>
                  <a:pt x="1125797" y="1350963"/>
                </a:cubicBezTo>
                <a:lnTo>
                  <a:pt x="225165" y="1350963"/>
                </a:lnTo>
                <a:cubicBezTo>
                  <a:pt x="100810" y="1350963"/>
                  <a:pt x="0" y="1250153"/>
                  <a:pt x="0" y="1125798"/>
                </a:cubicBezTo>
                <a:lnTo>
                  <a:pt x="0" y="225165"/>
                </a:lnTo>
                <a:cubicBezTo>
                  <a:pt x="0" y="100810"/>
                  <a:pt x="100810" y="0"/>
                  <a:pt x="22516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528A7B-8F36-BCD5-EB88-CE71FB13852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56362" y="1361260"/>
            <a:ext cx="4686184" cy="41354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4C924AE6-77D0-6A32-BB61-3F1F1063A6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2761497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DB7A24C-836B-4BC6-AF17-D2217E1018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08700" y="1161143"/>
            <a:ext cx="4296227" cy="2148114"/>
          </a:xfrm>
          <a:prstGeom prst="roundRect">
            <a:avLst>
              <a:gd name="adj" fmla="val 10459"/>
            </a:avLst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1E15E2F-DD7E-43EF-993D-B2BC10E2348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183801" y="3520352"/>
            <a:ext cx="2425261" cy="2039257"/>
          </a:xfrm>
          <a:prstGeom prst="roundRect">
            <a:avLst>
              <a:gd name="adj" fmla="val 11529"/>
            </a:avLst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E443B165-ECAF-619E-A68C-F32C4416CE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04DFE7-A742-D8FD-6DBB-EB753C5CEE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35728" y="1318989"/>
            <a:ext cx="4686184" cy="41354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89092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B42BF0C-4D46-4604-9634-5A701BE30F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31478" y="685800"/>
            <a:ext cx="4550922" cy="4550922"/>
          </a:xfrm>
          <a:custGeom>
            <a:avLst/>
            <a:gdLst>
              <a:gd name="connsiteX0" fmla="*/ 2275461 w 4550922"/>
              <a:gd name="connsiteY0" fmla="*/ 0 h 4550922"/>
              <a:gd name="connsiteX1" fmla="*/ 4550922 w 4550922"/>
              <a:gd name="connsiteY1" fmla="*/ 2275461 h 4550922"/>
              <a:gd name="connsiteX2" fmla="*/ 2275461 w 4550922"/>
              <a:gd name="connsiteY2" fmla="*/ 4550922 h 4550922"/>
              <a:gd name="connsiteX3" fmla="*/ 0 w 4550922"/>
              <a:gd name="connsiteY3" fmla="*/ 2275461 h 4550922"/>
              <a:gd name="connsiteX4" fmla="*/ 2275461 w 4550922"/>
              <a:gd name="connsiteY4" fmla="*/ 0 h 4550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50922" h="4550922">
                <a:moveTo>
                  <a:pt x="2275461" y="0"/>
                </a:moveTo>
                <a:cubicBezTo>
                  <a:pt x="3532163" y="0"/>
                  <a:pt x="4550922" y="1018759"/>
                  <a:pt x="4550922" y="2275461"/>
                </a:cubicBezTo>
                <a:cubicBezTo>
                  <a:pt x="4550922" y="3532163"/>
                  <a:pt x="3532163" y="4550922"/>
                  <a:pt x="2275461" y="4550922"/>
                </a:cubicBezTo>
                <a:cubicBezTo>
                  <a:pt x="1018759" y="4550922"/>
                  <a:pt x="0" y="3532163"/>
                  <a:pt x="0" y="2275461"/>
                </a:cubicBezTo>
                <a:cubicBezTo>
                  <a:pt x="0" y="1018759"/>
                  <a:pt x="1018759" y="0"/>
                  <a:pt x="227546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446F88AC-274B-4591-9A09-57A165368FD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63338" y="3733589"/>
            <a:ext cx="1940794" cy="1940794"/>
          </a:xfrm>
          <a:custGeom>
            <a:avLst/>
            <a:gdLst>
              <a:gd name="connsiteX0" fmla="*/ 970397 w 1940794"/>
              <a:gd name="connsiteY0" fmla="*/ 0 h 1940794"/>
              <a:gd name="connsiteX1" fmla="*/ 1940794 w 1940794"/>
              <a:gd name="connsiteY1" fmla="*/ 970397 h 1940794"/>
              <a:gd name="connsiteX2" fmla="*/ 970397 w 1940794"/>
              <a:gd name="connsiteY2" fmla="*/ 1940794 h 1940794"/>
              <a:gd name="connsiteX3" fmla="*/ 0 w 1940794"/>
              <a:gd name="connsiteY3" fmla="*/ 970397 h 1940794"/>
              <a:gd name="connsiteX4" fmla="*/ 970397 w 1940794"/>
              <a:gd name="connsiteY4" fmla="*/ 0 h 1940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40794" h="1940794">
                <a:moveTo>
                  <a:pt x="970397" y="0"/>
                </a:moveTo>
                <a:cubicBezTo>
                  <a:pt x="1506332" y="0"/>
                  <a:pt x="1940794" y="434462"/>
                  <a:pt x="1940794" y="970397"/>
                </a:cubicBezTo>
                <a:cubicBezTo>
                  <a:pt x="1940794" y="1506332"/>
                  <a:pt x="1506332" y="1940794"/>
                  <a:pt x="970397" y="1940794"/>
                </a:cubicBezTo>
                <a:cubicBezTo>
                  <a:pt x="434462" y="1940794"/>
                  <a:pt x="0" y="1506332"/>
                  <a:pt x="0" y="970397"/>
                </a:cubicBezTo>
                <a:cubicBezTo>
                  <a:pt x="0" y="434462"/>
                  <a:pt x="434462" y="0"/>
                  <a:pt x="97039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B6815D-2F29-945D-3464-0CC04A4BDD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1978" y="1224098"/>
            <a:ext cx="4686184" cy="41354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F076F1D8-FF55-2842-0A94-7A72939057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376985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5C34F55-096A-47D1-9CBD-49682C8670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270352"/>
            <a:ext cx="5721530" cy="2105638"/>
          </a:xfrm>
          <a:custGeom>
            <a:avLst/>
            <a:gdLst>
              <a:gd name="connsiteX0" fmla="*/ 0 w 5721530"/>
              <a:gd name="connsiteY0" fmla="*/ 0 h 2105638"/>
              <a:gd name="connsiteX1" fmla="*/ 5478539 w 5721530"/>
              <a:gd name="connsiteY1" fmla="*/ 0 h 2105638"/>
              <a:gd name="connsiteX2" fmla="*/ 5721530 w 5721530"/>
              <a:gd name="connsiteY2" fmla="*/ 242991 h 2105638"/>
              <a:gd name="connsiteX3" fmla="*/ 5721530 w 5721530"/>
              <a:gd name="connsiteY3" fmla="*/ 1862647 h 2105638"/>
              <a:gd name="connsiteX4" fmla="*/ 5478539 w 5721530"/>
              <a:gd name="connsiteY4" fmla="*/ 2105638 h 2105638"/>
              <a:gd name="connsiteX5" fmla="*/ 0 w 5721530"/>
              <a:gd name="connsiteY5" fmla="*/ 2105638 h 210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21530" h="2105638">
                <a:moveTo>
                  <a:pt x="0" y="0"/>
                </a:moveTo>
                <a:lnTo>
                  <a:pt x="5478539" y="0"/>
                </a:lnTo>
                <a:cubicBezTo>
                  <a:pt x="5612739" y="0"/>
                  <a:pt x="5721530" y="108791"/>
                  <a:pt x="5721530" y="242991"/>
                </a:cubicBezTo>
                <a:lnTo>
                  <a:pt x="5721530" y="1862647"/>
                </a:lnTo>
                <a:cubicBezTo>
                  <a:pt x="5721530" y="1996847"/>
                  <a:pt x="5612739" y="2105638"/>
                  <a:pt x="5478539" y="2105638"/>
                </a:cubicBezTo>
                <a:lnTo>
                  <a:pt x="0" y="21056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749E3C4-AE15-4B36-8062-0ECAE1FF70A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3569810"/>
            <a:ext cx="3189449" cy="2105638"/>
          </a:xfrm>
          <a:custGeom>
            <a:avLst/>
            <a:gdLst>
              <a:gd name="connsiteX0" fmla="*/ 0 w 3189449"/>
              <a:gd name="connsiteY0" fmla="*/ 0 h 2105638"/>
              <a:gd name="connsiteX1" fmla="*/ 2946458 w 3189449"/>
              <a:gd name="connsiteY1" fmla="*/ 0 h 2105638"/>
              <a:gd name="connsiteX2" fmla="*/ 3189449 w 3189449"/>
              <a:gd name="connsiteY2" fmla="*/ 242991 h 2105638"/>
              <a:gd name="connsiteX3" fmla="*/ 3189449 w 3189449"/>
              <a:gd name="connsiteY3" fmla="*/ 1862647 h 2105638"/>
              <a:gd name="connsiteX4" fmla="*/ 2946458 w 3189449"/>
              <a:gd name="connsiteY4" fmla="*/ 2105638 h 2105638"/>
              <a:gd name="connsiteX5" fmla="*/ 0 w 3189449"/>
              <a:gd name="connsiteY5" fmla="*/ 2105638 h 210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89449" h="2105638">
                <a:moveTo>
                  <a:pt x="0" y="0"/>
                </a:moveTo>
                <a:lnTo>
                  <a:pt x="2946458" y="0"/>
                </a:lnTo>
                <a:cubicBezTo>
                  <a:pt x="3080658" y="0"/>
                  <a:pt x="3189449" y="108791"/>
                  <a:pt x="3189449" y="242991"/>
                </a:cubicBezTo>
                <a:lnTo>
                  <a:pt x="3189449" y="1862647"/>
                </a:lnTo>
                <a:cubicBezTo>
                  <a:pt x="3189449" y="1996847"/>
                  <a:pt x="3080658" y="2105638"/>
                  <a:pt x="2946458" y="2105638"/>
                </a:cubicBezTo>
                <a:lnTo>
                  <a:pt x="0" y="21056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C98A8C-A243-F1B0-CF7C-A8504A15F5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35728" y="1318989"/>
            <a:ext cx="4686184" cy="41354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96052890-F062-A301-BC29-834B47D13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25781472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32415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A03078D-59A7-4935-A19F-637387C8D54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657600"/>
          </a:xfrm>
          <a:custGeom>
            <a:avLst/>
            <a:gdLst>
              <a:gd name="connsiteX0" fmla="*/ 0 w 12192000"/>
              <a:gd name="connsiteY0" fmla="*/ 0 h 3657600"/>
              <a:gd name="connsiteX1" fmla="*/ 12192000 w 12192000"/>
              <a:gd name="connsiteY1" fmla="*/ 0 h 3657600"/>
              <a:gd name="connsiteX2" fmla="*/ 12192000 w 12192000"/>
              <a:gd name="connsiteY2" fmla="*/ 3178875 h 3657600"/>
              <a:gd name="connsiteX3" fmla="*/ 11713275 w 12192000"/>
              <a:gd name="connsiteY3" fmla="*/ 3657600 h 3657600"/>
              <a:gd name="connsiteX4" fmla="*/ 478725 w 12192000"/>
              <a:gd name="connsiteY4" fmla="*/ 3657600 h 3657600"/>
              <a:gd name="connsiteX5" fmla="*/ 0 w 12192000"/>
              <a:gd name="connsiteY5" fmla="*/ 3178875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3657600">
                <a:moveTo>
                  <a:pt x="0" y="0"/>
                </a:moveTo>
                <a:lnTo>
                  <a:pt x="12192000" y="0"/>
                </a:lnTo>
                <a:lnTo>
                  <a:pt x="12192000" y="3178875"/>
                </a:lnTo>
                <a:cubicBezTo>
                  <a:pt x="12192000" y="3443268"/>
                  <a:pt x="11977668" y="3657600"/>
                  <a:pt x="11713275" y="3657600"/>
                </a:cubicBezTo>
                <a:lnTo>
                  <a:pt x="478725" y="3657600"/>
                </a:lnTo>
                <a:cubicBezTo>
                  <a:pt x="214332" y="3657600"/>
                  <a:pt x="0" y="3443268"/>
                  <a:pt x="0" y="317887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9E57461-E555-4DB4-AFAF-C292005EB92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785257" y="2529349"/>
            <a:ext cx="3918857" cy="2133600"/>
          </a:xfrm>
          <a:custGeom>
            <a:avLst/>
            <a:gdLst>
              <a:gd name="connsiteX0" fmla="*/ 355607 w 3918857"/>
              <a:gd name="connsiteY0" fmla="*/ 0 h 2133600"/>
              <a:gd name="connsiteX1" fmla="*/ 3563250 w 3918857"/>
              <a:gd name="connsiteY1" fmla="*/ 0 h 2133600"/>
              <a:gd name="connsiteX2" fmla="*/ 3918857 w 3918857"/>
              <a:gd name="connsiteY2" fmla="*/ 355607 h 2133600"/>
              <a:gd name="connsiteX3" fmla="*/ 3918857 w 3918857"/>
              <a:gd name="connsiteY3" fmla="*/ 1777993 h 2133600"/>
              <a:gd name="connsiteX4" fmla="*/ 3563250 w 3918857"/>
              <a:gd name="connsiteY4" fmla="*/ 2133600 h 2133600"/>
              <a:gd name="connsiteX5" fmla="*/ 355607 w 3918857"/>
              <a:gd name="connsiteY5" fmla="*/ 2133600 h 2133600"/>
              <a:gd name="connsiteX6" fmla="*/ 0 w 3918857"/>
              <a:gd name="connsiteY6" fmla="*/ 1777993 h 2133600"/>
              <a:gd name="connsiteX7" fmla="*/ 0 w 3918857"/>
              <a:gd name="connsiteY7" fmla="*/ 355607 h 2133600"/>
              <a:gd name="connsiteX8" fmla="*/ 355607 w 3918857"/>
              <a:gd name="connsiteY8" fmla="*/ 0 h 21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18857" h="2133600">
                <a:moveTo>
                  <a:pt x="355607" y="0"/>
                </a:moveTo>
                <a:lnTo>
                  <a:pt x="3563250" y="0"/>
                </a:lnTo>
                <a:cubicBezTo>
                  <a:pt x="3759646" y="0"/>
                  <a:pt x="3918857" y="159211"/>
                  <a:pt x="3918857" y="355607"/>
                </a:cubicBezTo>
                <a:lnTo>
                  <a:pt x="3918857" y="1777993"/>
                </a:lnTo>
                <a:cubicBezTo>
                  <a:pt x="3918857" y="1974389"/>
                  <a:pt x="3759646" y="2133600"/>
                  <a:pt x="3563250" y="2133600"/>
                </a:cubicBezTo>
                <a:lnTo>
                  <a:pt x="355607" y="2133600"/>
                </a:lnTo>
                <a:cubicBezTo>
                  <a:pt x="159211" y="2133600"/>
                  <a:pt x="0" y="1974389"/>
                  <a:pt x="0" y="1777993"/>
                </a:cubicBezTo>
                <a:lnTo>
                  <a:pt x="0" y="355607"/>
                </a:lnTo>
                <a:cubicBezTo>
                  <a:pt x="0" y="159211"/>
                  <a:pt x="159211" y="0"/>
                  <a:pt x="35560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26CCAC54-BB23-4C64-A868-B190C66730A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549572" y="2529349"/>
            <a:ext cx="3918857" cy="2133600"/>
          </a:xfrm>
          <a:custGeom>
            <a:avLst/>
            <a:gdLst>
              <a:gd name="connsiteX0" fmla="*/ 355607 w 3918857"/>
              <a:gd name="connsiteY0" fmla="*/ 0 h 2133600"/>
              <a:gd name="connsiteX1" fmla="*/ 3563250 w 3918857"/>
              <a:gd name="connsiteY1" fmla="*/ 0 h 2133600"/>
              <a:gd name="connsiteX2" fmla="*/ 3918857 w 3918857"/>
              <a:gd name="connsiteY2" fmla="*/ 355607 h 2133600"/>
              <a:gd name="connsiteX3" fmla="*/ 3918857 w 3918857"/>
              <a:gd name="connsiteY3" fmla="*/ 1777993 h 2133600"/>
              <a:gd name="connsiteX4" fmla="*/ 3563250 w 3918857"/>
              <a:gd name="connsiteY4" fmla="*/ 2133600 h 2133600"/>
              <a:gd name="connsiteX5" fmla="*/ 355607 w 3918857"/>
              <a:gd name="connsiteY5" fmla="*/ 2133600 h 2133600"/>
              <a:gd name="connsiteX6" fmla="*/ 0 w 3918857"/>
              <a:gd name="connsiteY6" fmla="*/ 1777993 h 2133600"/>
              <a:gd name="connsiteX7" fmla="*/ 0 w 3918857"/>
              <a:gd name="connsiteY7" fmla="*/ 355607 h 2133600"/>
              <a:gd name="connsiteX8" fmla="*/ 355607 w 3918857"/>
              <a:gd name="connsiteY8" fmla="*/ 0 h 21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18857" h="2133600">
                <a:moveTo>
                  <a:pt x="355607" y="0"/>
                </a:moveTo>
                <a:lnTo>
                  <a:pt x="3563250" y="0"/>
                </a:lnTo>
                <a:cubicBezTo>
                  <a:pt x="3759646" y="0"/>
                  <a:pt x="3918857" y="159211"/>
                  <a:pt x="3918857" y="355607"/>
                </a:cubicBezTo>
                <a:lnTo>
                  <a:pt x="3918857" y="1777993"/>
                </a:lnTo>
                <a:cubicBezTo>
                  <a:pt x="3918857" y="1974389"/>
                  <a:pt x="3759646" y="2133600"/>
                  <a:pt x="3563250" y="2133600"/>
                </a:cubicBezTo>
                <a:lnTo>
                  <a:pt x="355607" y="2133600"/>
                </a:lnTo>
                <a:cubicBezTo>
                  <a:pt x="159211" y="2133600"/>
                  <a:pt x="0" y="1974389"/>
                  <a:pt x="0" y="1777993"/>
                </a:cubicBezTo>
                <a:lnTo>
                  <a:pt x="0" y="355607"/>
                </a:lnTo>
                <a:cubicBezTo>
                  <a:pt x="0" y="159211"/>
                  <a:pt x="159211" y="0"/>
                  <a:pt x="35560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4093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FB9C39B-02F3-4BBE-8840-6427287ABFE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05618" y="1293962"/>
            <a:ext cx="3515830" cy="5564038"/>
          </a:xfrm>
          <a:custGeom>
            <a:avLst/>
            <a:gdLst>
              <a:gd name="connsiteX0" fmla="*/ 271352 w 3515830"/>
              <a:gd name="connsiteY0" fmla="*/ 0 h 6165850"/>
              <a:gd name="connsiteX1" fmla="*/ 3244478 w 3515830"/>
              <a:gd name="connsiteY1" fmla="*/ 0 h 6165850"/>
              <a:gd name="connsiteX2" fmla="*/ 3515830 w 3515830"/>
              <a:gd name="connsiteY2" fmla="*/ 271352 h 6165850"/>
              <a:gd name="connsiteX3" fmla="*/ 3515830 w 3515830"/>
              <a:gd name="connsiteY3" fmla="*/ 6165850 h 6165850"/>
              <a:gd name="connsiteX4" fmla="*/ 0 w 3515830"/>
              <a:gd name="connsiteY4" fmla="*/ 6165850 h 6165850"/>
              <a:gd name="connsiteX5" fmla="*/ 0 w 3515830"/>
              <a:gd name="connsiteY5" fmla="*/ 271352 h 6165850"/>
              <a:gd name="connsiteX6" fmla="*/ 271352 w 3515830"/>
              <a:gd name="connsiteY6" fmla="*/ 0 h 616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5830" h="6165850">
                <a:moveTo>
                  <a:pt x="271352" y="0"/>
                </a:moveTo>
                <a:lnTo>
                  <a:pt x="3244478" y="0"/>
                </a:lnTo>
                <a:cubicBezTo>
                  <a:pt x="3394342" y="0"/>
                  <a:pt x="3515830" y="121488"/>
                  <a:pt x="3515830" y="271352"/>
                </a:cubicBezTo>
                <a:lnTo>
                  <a:pt x="3515830" y="6165850"/>
                </a:lnTo>
                <a:lnTo>
                  <a:pt x="0" y="6165850"/>
                </a:lnTo>
                <a:lnTo>
                  <a:pt x="0" y="271352"/>
                </a:lnTo>
                <a:cubicBezTo>
                  <a:pt x="0" y="121488"/>
                  <a:pt x="121488" y="0"/>
                  <a:pt x="27135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B4600D8C-AA8C-EA2C-7606-F17F7B157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30132743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C4DD4B3-3AFA-43CF-B99F-CA54EEA918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08448" y="1228164"/>
            <a:ext cx="2690675" cy="3139355"/>
          </a:xfrm>
          <a:custGeom>
            <a:avLst/>
            <a:gdLst>
              <a:gd name="connsiteX0" fmla="*/ 259758 w 2690675"/>
              <a:gd name="connsiteY0" fmla="*/ 0 h 3139355"/>
              <a:gd name="connsiteX1" fmla="*/ 2430917 w 2690675"/>
              <a:gd name="connsiteY1" fmla="*/ 0 h 3139355"/>
              <a:gd name="connsiteX2" fmla="*/ 2690675 w 2690675"/>
              <a:gd name="connsiteY2" fmla="*/ 259758 h 3139355"/>
              <a:gd name="connsiteX3" fmla="*/ 2690675 w 2690675"/>
              <a:gd name="connsiteY3" fmla="*/ 2879597 h 3139355"/>
              <a:gd name="connsiteX4" fmla="*/ 2430917 w 2690675"/>
              <a:gd name="connsiteY4" fmla="*/ 3139355 h 3139355"/>
              <a:gd name="connsiteX5" fmla="*/ 259758 w 2690675"/>
              <a:gd name="connsiteY5" fmla="*/ 3139355 h 3139355"/>
              <a:gd name="connsiteX6" fmla="*/ 0 w 2690675"/>
              <a:gd name="connsiteY6" fmla="*/ 2879597 h 3139355"/>
              <a:gd name="connsiteX7" fmla="*/ 0 w 2690675"/>
              <a:gd name="connsiteY7" fmla="*/ 259758 h 3139355"/>
              <a:gd name="connsiteX8" fmla="*/ 259758 w 2690675"/>
              <a:gd name="connsiteY8" fmla="*/ 0 h 3139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0675" h="3139355">
                <a:moveTo>
                  <a:pt x="259758" y="0"/>
                </a:moveTo>
                <a:lnTo>
                  <a:pt x="2430917" y="0"/>
                </a:lnTo>
                <a:cubicBezTo>
                  <a:pt x="2574377" y="0"/>
                  <a:pt x="2690675" y="116298"/>
                  <a:pt x="2690675" y="259758"/>
                </a:cubicBezTo>
                <a:lnTo>
                  <a:pt x="2690675" y="2879597"/>
                </a:lnTo>
                <a:cubicBezTo>
                  <a:pt x="2690675" y="3023057"/>
                  <a:pt x="2574377" y="3139355"/>
                  <a:pt x="2430917" y="3139355"/>
                </a:cubicBezTo>
                <a:lnTo>
                  <a:pt x="259758" y="3139355"/>
                </a:lnTo>
                <a:cubicBezTo>
                  <a:pt x="116298" y="3139355"/>
                  <a:pt x="0" y="3023057"/>
                  <a:pt x="0" y="2879597"/>
                </a:cubicBezTo>
                <a:lnTo>
                  <a:pt x="0" y="259758"/>
                </a:lnTo>
                <a:cubicBezTo>
                  <a:pt x="0" y="116298"/>
                  <a:pt x="116298" y="0"/>
                  <a:pt x="25975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BC2389F-06E3-462D-B7A3-54F35FD4242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808448" y="4536141"/>
            <a:ext cx="2690675" cy="2321859"/>
          </a:xfrm>
          <a:custGeom>
            <a:avLst/>
            <a:gdLst>
              <a:gd name="connsiteX0" fmla="*/ 263444 w 2690675"/>
              <a:gd name="connsiteY0" fmla="*/ 0 h 2321859"/>
              <a:gd name="connsiteX1" fmla="*/ 2427231 w 2690675"/>
              <a:gd name="connsiteY1" fmla="*/ 0 h 2321859"/>
              <a:gd name="connsiteX2" fmla="*/ 2690675 w 2690675"/>
              <a:gd name="connsiteY2" fmla="*/ 263444 h 2321859"/>
              <a:gd name="connsiteX3" fmla="*/ 2690675 w 2690675"/>
              <a:gd name="connsiteY3" fmla="*/ 2321859 h 2321859"/>
              <a:gd name="connsiteX4" fmla="*/ 0 w 2690675"/>
              <a:gd name="connsiteY4" fmla="*/ 2321859 h 2321859"/>
              <a:gd name="connsiteX5" fmla="*/ 0 w 2690675"/>
              <a:gd name="connsiteY5" fmla="*/ 263444 h 2321859"/>
              <a:gd name="connsiteX6" fmla="*/ 263444 w 2690675"/>
              <a:gd name="connsiteY6" fmla="*/ 0 h 2321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90675" h="2321859">
                <a:moveTo>
                  <a:pt x="263444" y="0"/>
                </a:moveTo>
                <a:lnTo>
                  <a:pt x="2427231" y="0"/>
                </a:lnTo>
                <a:cubicBezTo>
                  <a:pt x="2572727" y="0"/>
                  <a:pt x="2690675" y="117948"/>
                  <a:pt x="2690675" y="263444"/>
                </a:cubicBezTo>
                <a:lnTo>
                  <a:pt x="2690675" y="2321859"/>
                </a:lnTo>
                <a:lnTo>
                  <a:pt x="0" y="2321859"/>
                </a:lnTo>
                <a:lnTo>
                  <a:pt x="0" y="263444"/>
                </a:lnTo>
                <a:cubicBezTo>
                  <a:pt x="0" y="117948"/>
                  <a:pt x="117948" y="0"/>
                  <a:pt x="26344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9DC799F2-E3CE-CBB6-743F-AF3DED8F57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34318909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1CBC098-2059-47FB-BA1A-9D28FFCE516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96878" y="1386519"/>
            <a:ext cx="4598504" cy="4084962"/>
          </a:xfrm>
          <a:custGeom>
            <a:avLst/>
            <a:gdLst>
              <a:gd name="connsiteX0" fmla="*/ 216219 w 4598504"/>
              <a:gd name="connsiteY0" fmla="*/ 0 h 4084962"/>
              <a:gd name="connsiteX1" fmla="*/ 4382285 w 4598504"/>
              <a:gd name="connsiteY1" fmla="*/ 0 h 4084962"/>
              <a:gd name="connsiteX2" fmla="*/ 4598504 w 4598504"/>
              <a:gd name="connsiteY2" fmla="*/ 224754 h 4084962"/>
              <a:gd name="connsiteX3" fmla="*/ 4598504 w 4598504"/>
              <a:gd name="connsiteY3" fmla="*/ 3860208 h 4084962"/>
              <a:gd name="connsiteX4" fmla="*/ 4382285 w 4598504"/>
              <a:gd name="connsiteY4" fmla="*/ 4084962 h 4084962"/>
              <a:gd name="connsiteX5" fmla="*/ 216219 w 4598504"/>
              <a:gd name="connsiteY5" fmla="*/ 4084962 h 4084962"/>
              <a:gd name="connsiteX6" fmla="*/ 0 w 4598504"/>
              <a:gd name="connsiteY6" fmla="*/ 3860208 h 4084962"/>
              <a:gd name="connsiteX7" fmla="*/ 0 w 4598504"/>
              <a:gd name="connsiteY7" fmla="*/ 224754 h 4084962"/>
              <a:gd name="connsiteX8" fmla="*/ 216219 w 4598504"/>
              <a:gd name="connsiteY8" fmla="*/ 0 h 4084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98504" h="4084962">
                <a:moveTo>
                  <a:pt x="216219" y="0"/>
                </a:moveTo>
                <a:lnTo>
                  <a:pt x="4382285" y="0"/>
                </a:lnTo>
                <a:cubicBezTo>
                  <a:pt x="4501700" y="0"/>
                  <a:pt x="4598504" y="100626"/>
                  <a:pt x="4598504" y="224754"/>
                </a:cubicBezTo>
                <a:lnTo>
                  <a:pt x="4598504" y="3860208"/>
                </a:lnTo>
                <a:cubicBezTo>
                  <a:pt x="4598504" y="3984337"/>
                  <a:pt x="4501700" y="4084962"/>
                  <a:pt x="4382285" y="4084962"/>
                </a:cubicBezTo>
                <a:lnTo>
                  <a:pt x="216219" y="4084962"/>
                </a:lnTo>
                <a:cubicBezTo>
                  <a:pt x="96804" y="4084962"/>
                  <a:pt x="0" y="3984337"/>
                  <a:pt x="0" y="3860208"/>
                </a:cubicBezTo>
                <a:lnTo>
                  <a:pt x="0" y="224754"/>
                </a:lnTo>
                <a:cubicBezTo>
                  <a:pt x="0" y="100626"/>
                  <a:pt x="96804" y="0"/>
                  <a:pt x="216219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0E9AF0-7616-21E3-5C98-061DF965BA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8939" y="1336001"/>
            <a:ext cx="4686184" cy="41354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F7126D28-1710-8B0A-9FE3-780C7BDB2F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30169269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2E613FC-630F-41A9-8B5F-7E0A9811FE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58496" y="1636393"/>
            <a:ext cx="4663685" cy="2593429"/>
          </a:xfrm>
          <a:custGeom>
            <a:avLst/>
            <a:gdLst>
              <a:gd name="connsiteX0" fmla="*/ 0 w 4663685"/>
              <a:gd name="connsiteY0" fmla="*/ 0 h 2593429"/>
              <a:gd name="connsiteX1" fmla="*/ 4663685 w 4663685"/>
              <a:gd name="connsiteY1" fmla="*/ 0 h 2593429"/>
              <a:gd name="connsiteX2" fmla="*/ 4663685 w 4663685"/>
              <a:gd name="connsiteY2" fmla="*/ 2593429 h 2593429"/>
              <a:gd name="connsiteX3" fmla="*/ 0 w 4663685"/>
              <a:gd name="connsiteY3" fmla="*/ 2593429 h 2593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63685" h="2593429">
                <a:moveTo>
                  <a:pt x="0" y="0"/>
                </a:moveTo>
                <a:lnTo>
                  <a:pt x="4663685" y="0"/>
                </a:lnTo>
                <a:lnTo>
                  <a:pt x="4663685" y="2593429"/>
                </a:lnTo>
                <a:lnTo>
                  <a:pt x="0" y="259342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58C236A3-B433-0AE0-6F6C-ADA9651FE5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35728" y="1318989"/>
            <a:ext cx="4686184" cy="41354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179E1205-A18D-C19B-8A8D-DE6B6F8A76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42745883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416B878-D898-4DC6-B0C9-591ECD6BB32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08408" y="1184719"/>
            <a:ext cx="3998913" cy="3464418"/>
          </a:xfrm>
          <a:custGeom>
            <a:avLst/>
            <a:gdLst>
              <a:gd name="connsiteX0" fmla="*/ 797719 w 3998913"/>
              <a:gd name="connsiteY0" fmla="*/ 0 h 3464418"/>
              <a:gd name="connsiteX1" fmla="*/ 3998913 w 3998913"/>
              <a:gd name="connsiteY1" fmla="*/ 1042987 h 3464418"/>
              <a:gd name="connsiteX2" fmla="*/ 2955132 w 3998913"/>
              <a:gd name="connsiteY2" fmla="*/ 3464418 h 3464418"/>
              <a:gd name="connsiteX3" fmla="*/ 0 w 3998913"/>
              <a:gd name="connsiteY3" fmla="*/ 2053925 h 3464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98913" h="3464418">
                <a:moveTo>
                  <a:pt x="797719" y="0"/>
                </a:moveTo>
                <a:lnTo>
                  <a:pt x="3998913" y="1042987"/>
                </a:lnTo>
                <a:lnTo>
                  <a:pt x="2955132" y="3464418"/>
                </a:lnTo>
                <a:lnTo>
                  <a:pt x="0" y="205392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ED2D6CE0-6ED7-9932-A25D-6C78B96C04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9816" y="1361260"/>
            <a:ext cx="4686184" cy="41354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B67DA887-9F84-22FB-B421-0661EAAC2F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16323912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4285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5193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0107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328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29702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40092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9344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68FBC29-1424-C938-0BFB-6E3FF34F5FD4}"/>
              </a:ext>
            </a:extLst>
          </p:cNvPr>
          <p:cNvGrpSpPr/>
          <p:nvPr userDrawn="1"/>
        </p:nvGrpSpPr>
        <p:grpSpPr>
          <a:xfrm>
            <a:off x="309324" y="3273040"/>
            <a:ext cx="11573353" cy="3587612"/>
            <a:chOff x="309324" y="3273040"/>
            <a:chExt cx="11573353" cy="358761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A6565272-068F-033B-6520-123DFBDF3A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580452" y="3273040"/>
              <a:ext cx="61200" cy="266365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4D0D68F-BDBC-3FAC-6EE5-4F52FDB82AE5}"/>
                </a:ext>
              </a:extLst>
            </p:cNvPr>
            <p:cNvSpPr/>
            <p:nvPr userDrawn="1"/>
          </p:nvSpPr>
          <p:spPr>
            <a:xfrm>
              <a:off x="3523144" y="4024394"/>
              <a:ext cx="25200" cy="2582428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8F19973-CA5C-CEA6-6966-55B50A538AF7}"/>
                </a:ext>
              </a:extLst>
            </p:cNvPr>
            <p:cNvSpPr/>
            <p:nvPr userDrawn="1"/>
          </p:nvSpPr>
          <p:spPr>
            <a:xfrm>
              <a:off x="6101400" y="4278224"/>
              <a:ext cx="25200" cy="2582428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567D4AE-0E12-9E5D-C3D4-7F68C2CA02A9}"/>
                </a:ext>
              </a:extLst>
            </p:cNvPr>
            <p:cNvSpPr/>
            <p:nvPr userDrawn="1"/>
          </p:nvSpPr>
          <p:spPr>
            <a:xfrm>
              <a:off x="309324" y="3897479"/>
              <a:ext cx="25200" cy="2582428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36A7B371-6BA2-5345-EB1F-0FA1FF79185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429836" y="3689333"/>
              <a:ext cx="61200" cy="266365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86FB60E-8204-42A5-50F3-F4F7091E9DA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43656" y="3481186"/>
              <a:ext cx="61200" cy="266365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B8AC67C-A37D-20D6-337A-F4CDC80561EA}"/>
                </a:ext>
              </a:extLst>
            </p:cNvPr>
            <p:cNvSpPr/>
            <p:nvPr userDrawn="1"/>
          </p:nvSpPr>
          <p:spPr>
            <a:xfrm>
              <a:off x="7372528" y="4151309"/>
              <a:ext cx="25200" cy="2582428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6FBE6988-A829-9219-5C49-816ECE0BE88C}"/>
                </a:ext>
              </a:extLst>
            </p:cNvPr>
            <p:cNvSpPr/>
            <p:nvPr userDrawn="1"/>
          </p:nvSpPr>
          <p:spPr>
            <a:xfrm>
              <a:off x="944888" y="4912799"/>
              <a:ext cx="25200" cy="1943483"/>
            </a:xfrm>
            <a:custGeom>
              <a:avLst/>
              <a:gdLst>
                <a:gd name="connsiteX0" fmla="*/ 0 w 25200"/>
                <a:gd name="connsiteY0" fmla="*/ 0 h 1178846"/>
                <a:gd name="connsiteX1" fmla="*/ 25200 w 25200"/>
                <a:gd name="connsiteY1" fmla="*/ 0 h 1178846"/>
                <a:gd name="connsiteX2" fmla="*/ 25200 w 25200"/>
                <a:gd name="connsiteY2" fmla="*/ 1178846 h 1178846"/>
                <a:gd name="connsiteX3" fmla="*/ 0 w 25200"/>
                <a:gd name="connsiteY3" fmla="*/ 1178846 h 11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178846">
                  <a:moveTo>
                    <a:pt x="0" y="0"/>
                  </a:moveTo>
                  <a:lnTo>
                    <a:pt x="25200" y="0"/>
                  </a:lnTo>
                  <a:lnTo>
                    <a:pt x="25200" y="1178846"/>
                  </a:lnTo>
                  <a:lnTo>
                    <a:pt x="0" y="1178846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882AAD0C-F93A-3B94-4F59-A56C8348D987}"/>
                </a:ext>
              </a:extLst>
            </p:cNvPr>
            <p:cNvSpPr/>
            <p:nvPr userDrawn="1"/>
          </p:nvSpPr>
          <p:spPr>
            <a:xfrm>
              <a:off x="2252016" y="5547373"/>
              <a:ext cx="25200" cy="1308908"/>
            </a:xfrm>
            <a:custGeom>
              <a:avLst/>
              <a:gdLst>
                <a:gd name="connsiteX0" fmla="*/ 0 w 25200"/>
                <a:gd name="connsiteY0" fmla="*/ 0 h 793936"/>
                <a:gd name="connsiteX1" fmla="*/ 25200 w 25200"/>
                <a:gd name="connsiteY1" fmla="*/ 0 h 793936"/>
                <a:gd name="connsiteX2" fmla="*/ 25200 w 25200"/>
                <a:gd name="connsiteY2" fmla="*/ 793936 h 793936"/>
                <a:gd name="connsiteX3" fmla="*/ 0 w 25200"/>
                <a:gd name="connsiteY3" fmla="*/ 793936 h 793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793936">
                  <a:moveTo>
                    <a:pt x="0" y="0"/>
                  </a:moveTo>
                  <a:lnTo>
                    <a:pt x="25200" y="0"/>
                  </a:lnTo>
                  <a:lnTo>
                    <a:pt x="25200" y="793936"/>
                  </a:lnTo>
                  <a:lnTo>
                    <a:pt x="0" y="793936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B24FC7DF-4EB4-CDA2-EEC7-5EEF6CBF7919}"/>
                </a:ext>
              </a:extLst>
            </p:cNvPr>
            <p:cNvSpPr/>
            <p:nvPr userDrawn="1"/>
          </p:nvSpPr>
          <p:spPr>
            <a:xfrm>
              <a:off x="2887580" y="5166629"/>
              <a:ext cx="25200" cy="1689653"/>
            </a:xfrm>
            <a:custGeom>
              <a:avLst/>
              <a:gdLst>
                <a:gd name="connsiteX0" fmla="*/ 0 w 25200"/>
                <a:gd name="connsiteY0" fmla="*/ 0 h 1024882"/>
                <a:gd name="connsiteX1" fmla="*/ 25200 w 25200"/>
                <a:gd name="connsiteY1" fmla="*/ 0 h 1024882"/>
                <a:gd name="connsiteX2" fmla="*/ 25200 w 25200"/>
                <a:gd name="connsiteY2" fmla="*/ 1024882 h 1024882"/>
                <a:gd name="connsiteX3" fmla="*/ 0 w 25200"/>
                <a:gd name="connsiteY3" fmla="*/ 1024882 h 1024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024882">
                  <a:moveTo>
                    <a:pt x="0" y="0"/>
                  </a:moveTo>
                  <a:lnTo>
                    <a:pt x="25200" y="0"/>
                  </a:lnTo>
                  <a:lnTo>
                    <a:pt x="25200" y="1024882"/>
                  </a:lnTo>
                  <a:lnTo>
                    <a:pt x="0" y="1024882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7769A307-6B4E-747E-2AC7-7DAF10606390}"/>
                </a:ext>
              </a:extLst>
            </p:cNvPr>
            <p:cNvSpPr/>
            <p:nvPr userDrawn="1"/>
          </p:nvSpPr>
          <p:spPr>
            <a:xfrm>
              <a:off x="4158708" y="4405139"/>
              <a:ext cx="25200" cy="2451143"/>
            </a:xfrm>
            <a:custGeom>
              <a:avLst/>
              <a:gdLst>
                <a:gd name="connsiteX0" fmla="*/ 0 w 25200"/>
                <a:gd name="connsiteY0" fmla="*/ 0 h 1486774"/>
                <a:gd name="connsiteX1" fmla="*/ 25200 w 25200"/>
                <a:gd name="connsiteY1" fmla="*/ 0 h 1486774"/>
                <a:gd name="connsiteX2" fmla="*/ 25200 w 25200"/>
                <a:gd name="connsiteY2" fmla="*/ 1486774 h 1486774"/>
                <a:gd name="connsiteX3" fmla="*/ 0 w 25200"/>
                <a:gd name="connsiteY3" fmla="*/ 1486774 h 1486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486774">
                  <a:moveTo>
                    <a:pt x="0" y="0"/>
                  </a:moveTo>
                  <a:lnTo>
                    <a:pt x="25200" y="0"/>
                  </a:lnTo>
                  <a:lnTo>
                    <a:pt x="25200" y="1486774"/>
                  </a:lnTo>
                  <a:lnTo>
                    <a:pt x="0" y="148677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D165D351-F1D4-763A-D5A2-33A64E0F7FC1}"/>
                </a:ext>
              </a:extLst>
            </p:cNvPr>
            <p:cNvSpPr/>
            <p:nvPr userDrawn="1"/>
          </p:nvSpPr>
          <p:spPr>
            <a:xfrm>
              <a:off x="4794272" y="4532054"/>
              <a:ext cx="25200" cy="2324228"/>
            </a:xfrm>
            <a:custGeom>
              <a:avLst/>
              <a:gdLst>
                <a:gd name="connsiteX0" fmla="*/ 0 w 25200"/>
                <a:gd name="connsiteY0" fmla="*/ 0 h 1409792"/>
                <a:gd name="connsiteX1" fmla="*/ 25200 w 25200"/>
                <a:gd name="connsiteY1" fmla="*/ 0 h 1409792"/>
                <a:gd name="connsiteX2" fmla="*/ 25200 w 25200"/>
                <a:gd name="connsiteY2" fmla="*/ 1409792 h 1409792"/>
                <a:gd name="connsiteX3" fmla="*/ 0 w 25200"/>
                <a:gd name="connsiteY3" fmla="*/ 1409792 h 1409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409792">
                  <a:moveTo>
                    <a:pt x="0" y="0"/>
                  </a:moveTo>
                  <a:lnTo>
                    <a:pt x="25200" y="0"/>
                  </a:lnTo>
                  <a:lnTo>
                    <a:pt x="25200" y="1409792"/>
                  </a:lnTo>
                  <a:lnTo>
                    <a:pt x="0" y="1409792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E636C46F-8F45-ACB8-EF16-D3FB8B8A18A8}"/>
                </a:ext>
              </a:extLst>
            </p:cNvPr>
            <p:cNvSpPr/>
            <p:nvPr userDrawn="1"/>
          </p:nvSpPr>
          <p:spPr>
            <a:xfrm>
              <a:off x="6736964" y="5674288"/>
              <a:ext cx="25200" cy="1181993"/>
            </a:xfrm>
            <a:custGeom>
              <a:avLst/>
              <a:gdLst>
                <a:gd name="connsiteX0" fmla="*/ 0 w 25200"/>
                <a:gd name="connsiteY0" fmla="*/ 0 h 716954"/>
                <a:gd name="connsiteX1" fmla="*/ 25200 w 25200"/>
                <a:gd name="connsiteY1" fmla="*/ 0 h 716954"/>
                <a:gd name="connsiteX2" fmla="*/ 25200 w 25200"/>
                <a:gd name="connsiteY2" fmla="*/ 716954 h 716954"/>
                <a:gd name="connsiteX3" fmla="*/ 0 w 25200"/>
                <a:gd name="connsiteY3" fmla="*/ 716954 h 716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716954">
                  <a:moveTo>
                    <a:pt x="0" y="0"/>
                  </a:moveTo>
                  <a:lnTo>
                    <a:pt x="25200" y="0"/>
                  </a:lnTo>
                  <a:lnTo>
                    <a:pt x="25200" y="716954"/>
                  </a:lnTo>
                  <a:lnTo>
                    <a:pt x="0" y="71695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06D4751C-56C4-2900-7533-D82707E26128}"/>
                </a:ext>
              </a:extLst>
            </p:cNvPr>
            <p:cNvSpPr/>
            <p:nvPr userDrawn="1"/>
          </p:nvSpPr>
          <p:spPr>
            <a:xfrm>
              <a:off x="8008092" y="5039714"/>
              <a:ext cx="25200" cy="1816568"/>
            </a:xfrm>
            <a:custGeom>
              <a:avLst/>
              <a:gdLst>
                <a:gd name="connsiteX0" fmla="*/ 0 w 25200"/>
                <a:gd name="connsiteY0" fmla="*/ 0 h 1101864"/>
                <a:gd name="connsiteX1" fmla="*/ 25200 w 25200"/>
                <a:gd name="connsiteY1" fmla="*/ 0 h 1101864"/>
                <a:gd name="connsiteX2" fmla="*/ 25200 w 25200"/>
                <a:gd name="connsiteY2" fmla="*/ 1101864 h 1101864"/>
                <a:gd name="connsiteX3" fmla="*/ 0 w 25200"/>
                <a:gd name="connsiteY3" fmla="*/ 1101864 h 110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101864">
                  <a:moveTo>
                    <a:pt x="0" y="0"/>
                  </a:moveTo>
                  <a:lnTo>
                    <a:pt x="25200" y="0"/>
                  </a:lnTo>
                  <a:lnTo>
                    <a:pt x="25200" y="1101864"/>
                  </a:lnTo>
                  <a:lnTo>
                    <a:pt x="0" y="110186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76F27422-EA23-C87B-C092-3BB6182BBADD}"/>
                </a:ext>
              </a:extLst>
            </p:cNvPr>
            <p:cNvSpPr/>
            <p:nvPr userDrawn="1"/>
          </p:nvSpPr>
          <p:spPr>
            <a:xfrm>
              <a:off x="9315220" y="4785884"/>
              <a:ext cx="25200" cy="2070398"/>
            </a:xfrm>
            <a:custGeom>
              <a:avLst/>
              <a:gdLst>
                <a:gd name="connsiteX0" fmla="*/ 0 w 25200"/>
                <a:gd name="connsiteY0" fmla="*/ 0 h 1255828"/>
                <a:gd name="connsiteX1" fmla="*/ 25200 w 25200"/>
                <a:gd name="connsiteY1" fmla="*/ 0 h 1255828"/>
                <a:gd name="connsiteX2" fmla="*/ 25200 w 25200"/>
                <a:gd name="connsiteY2" fmla="*/ 1255828 h 1255828"/>
                <a:gd name="connsiteX3" fmla="*/ 0 w 25200"/>
                <a:gd name="connsiteY3" fmla="*/ 1255828 h 1255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255828">
                  <a:moveTo>
                    <a:pt x="0" y="0"/>
                  </a:moveTo>
                  <a:lnTo>
                    <a:pt x="25200" y="0"/>
                  </a:lnTo>
                  <a:lnTo>
                    <a:pt x="25200" y="1255828"/>
                  </a:lnTo>
                  <a:lnTo>
                    <a:pt x="0" y="125582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AE151909-B483-05A1-814E-6F1E9D50E6BF}"/>
                </a:ext>
              </a:extLst>
            </p:cNvPr>
            <p:cNvSpPr/>
            <p:nvPr userDrawn="1"/>
          </p:nvSpPr>
          <p:spPr>
            <a:xfrm>
              <a:off x="9950784" y="5420459"/>
              <a:ext cx="25200" cy="1435823"/>
            </a:xfrm>
            <a:custGeom>
              <a:avLst/>
              <a:gdLst>
                <a:gd name="connsiteX0" fmla="*/ 0 w 25200"/>
                <a:gd name="connsiteY0" fmla="*/ 0 h 870918"/>
                <a:gd name="connsiteX1" fmla="*/ 25200 w 25200"/>
                <a:gd name="connsiteY1" fmla="*/ 0 h 870918"/>
                <a:gd name="connsiteX2" fmla="*/ 25200 w 25200"/>
                <a:gd name="connsiteY2" fmla="*/ 870918 h 870918"/>
                <a:gd name="connsiteX3" fmla="*/ 0 w 25200"/>
                <a:gd name="connsiteY3" fmla="*/ 870918 h 870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870918">
                  <a:moveTo>
                    <a:pt x="0" y="0"/>
                  </a:moveTo>
                  <a:lnTo>
                    <a:pt x="25200" y="0"/>
                  </a:lnTo>
                  <a:lnTo>
                    <a:pt x="25200" y="870918"/>
                  </a:lnTo>
                  <a:lnTo>
                    <a:pt x="0" y="87091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CA10F804-A169-ECD2-3841-A4E3FE62F4DB}"/>
                </a:ext>
              </a:extLst>
            </p:cNvPr>
            <p:cNvSpPr/>
            <p:nvPr userDrawn="1"/>
          </p:nvSpPr>
          <p:spPr>
            <a:xfrm>
              <a:off x="10586348" y="5801197"/>
              <a:ext cx="25200" cy="1055086"/>
            </a:xfrm>
            <a:custGeom>
              <a:avLst/>
              <a:gdLst>
                <a:gd name="connsiteX0" fmla="*/ 0 w 25200"/>
                <a:gd name="connsiteY0" fmla="*/ 0 h 639977"/>
                <a:gd name="connsiteX1" fmla="*/ 25200 w 25200"/>
                <a:gd name="connsiteY1" fmla="*/ 0 h 639977"/>
                <a:gd name="connsiteX2" fmla="*/ 25200 w 25200"/>
                <a:gd name="connsiteY2" fmla="*/ 639977 h 639977"/>
                <a:gd name="connsiteX3" fmla="*/ 0 w 25200"/>
                <a:gd name="connsiteY3" fmla="*/ 639977 h 639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639977">
                  <a:moveTo>
                    <a:pt x="0" y="0"/>
                  </a:moveTo>
                  <a:lnTo>
                    <a:pt x="25200" y="0"/>
                  </a:lnTo>
                  <a:lnTo>
                    <a:pt x="25200" y="639977"/>
                  </a:lnTo>
                  <a:lnTo>
                    <a:pt x="0" y="639977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9E532372-8033-2CA7-4E53-A64A008878A7}"/>
                </a:ext>
              </a:extLst>
            </p:cNvPr>
            <p:cNvSpPr/>
            <p:nvPr userDrawn="1"/>
          </p:nvSpPr>
          <p:spPr>
            <a:xfrm>
              <a:off x="11221912" y="4658969"/>
              <a:ext cx="25200" cy="2197313"/>
            </a:xfrm>
            <a:custGeom>
              <a:avLst/>
              <a:gdLst>
                <a:gd name="connsiteX0" fmla="*/ 0 w 25200"/>
                <a:gd name="connsiteY0" fmla="*/ 0 h 1332810"/>
                <a:gd name="connsiteX1" fmla="*/ 25200 w 25200"/>
                <a:gd name="connsiteY1" fmla="*/ 0 h 1332810"/>
                <a:gd name="connsiteX2" fmla="*/ 25200 w 25200"/>
                <a:gd name="connsiteY2" fmla="*/ 1332810 h 1332810"/>
                <a:gd name="connsiteX3" fmla="*/ 0 w 25200"/>
                <a:gd name="connsiteY3" fmla="*/ 1332810 h 133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332810">
                  <a:moveTo>
                    <a:pt x="0" y="0"/>
                  </a:moveTo>
                  <a:lnTo>
                    <a:pt x="25200" y="0"/>
                  </a:lnTo>
                  <a:lnTo>
                    <a:pt x="25200" y="1332810"/>
                  </a:lnTo>
                  <a:lnTo>
                    <a:pt x="0" y="133281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08BDAEAB-8CF4-2C01-D0D0-FEEB225679E7}"/>
                </a:ext>
              </a:extLst>
            </p:cNvPr>
            <p:cNvSpPr/>
            <p:nvPr userDrawn="1"/>
          </p:nvSpPr>
          <p:spPr>
            <a:xfrm>
              <a:off x="11857477" y="5293544"/>
              <a:ext cx="25200" cy="1562738"/>
            </a:xfrm>
            <a:custGeom>
              <a:avLst/>
              <a:gdLst>
                <a:gd name="connsiteX0" fmla="*/ 0 w 25200"/>
                <a:gd name="connsiteY0" fmla="*/ 0 h 947900"/>
                <a:gd name="connsiteX1" fmla="*/ 25200 w 25200"/>
                <a:gd name="connsiteY1" fmla="*/ 0 h 947900"/>
                <a:gd name="connsiteX2" fmla="*/ 25200 w 25200"/>
                <a:gd name="connsiteY2" fmla="*/ 947900 h 947900"/>
                <a:gd name="connsiteX3" fmla="*/ 0 w 25200"/>
                <a:gd name="connsiteY3" fmla="*/ 947900 h 94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947900">
                  <a:moveTo>
                    <a:pt x="0" y="0"/>
                  </a:moveTo>
                  <a:lnTo>
                    <a:pt x="25200" y="0"/>
                  </a:lnTo>
                  <a:lnTo>
                    <a:pt x="25200" y="947900"/>
                  </a:lnTo>
                  <a:lnTo>
                    <a:pt x="0" y="94790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6F6AF946-3F5B-2C7E-4910-5C857ABC8DBD}"/>
              </a:ext>
            </a:extLst>
          </p:cNvPr>
          <p:cNvSpPr txBox="1"/>
          <p:nvPr userDrawn="1"/>
        </p:nvSpPr>
        <p:spPr>
          <a:xfrm>
            <a:off x="10920872" y="6138370"/>
            <a:ext cx="8905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BF03E32-72BD-0347-AAE1-87B13DE37447}" type="slidenum">
              <a:rPr lang="en-ID" sz="2000" b="1" u="none" strike="noStrike" smtClean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‹Nr.›</a:t>
            </a:fld>
            <a:r>
              <a:rPr lang="en-ID" sz="2000" b="1" u="none" strike="noStrike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 </a:t>
            </a:r>
            <a:r>
              <a:rPr lang="en-ID" sz="1400" u="none" strike="noStrike" dirty="0">
                <a:solidFill>
                  <a:schemeClr val="bg1"/>
                </a:soli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/ 15</a:t>
            </a:r>
            <a:endParaRPr lang="en-US" sz="2000" dirty="0">
              <a:solidFill>
                <a:schemeClr val="bg1"/>
              </a:solidFill>
              <a:latin typeface="Play" panose="00000500000000000000" pitchFamily="2" charset="0"/>
              <a:ea typeface="Roboto Mono" pitchFamily="49" charset="0"/>
              <a:cs typeface="Space Grotesk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517085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9" r:id="rId13"/>
    <p:sldLayoutId id="2147483650" r:id="rId14"/>
    <p:sldLayoutId id="2147483651" r:id="rId15"/>
    <p:sldLayoutId id="2147483653" r:id="rId16"/>
    <p:sldLayoutId id="2147483654" r:id="rId17"/>
    <p:sldLayoutId id="2147483655" r:id="rId18"/>
    <p:sldLayoutId id="2147483656" r:id="rId19"/>
    <p:sldLayoutId id="2147483657" r:id="rId20"/>
    <p:sldLayoutId id="2147483658" r:id="rId21"/>
    <p:sldLayoutId id="2147483660" r:id="rId22"/>
    <p:sldLayoutId id="2147483659" r:id="rId23"/>
    <p:sldLayoutId id="2147483661" r:id="rId24"/>
    <p:sldLayoutId id="2147483662" r:id="rId2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704A31F-EF31-8A4E-E0EA-3FDA4D928352}"/>
              </a:ext>
            </a:extLst>
          </p:cNvPr>
          <p:cNvGrpSpPr/>
          <p:nvPr/>
        </p:nvGrpSpPr>
        <p:grpSpPr>
          <a:xfrm>
            <a:off x="309324" y="3273040"/>
            <a:ext cx="11573353" cy="3587612"/>
            <a:chOff x="309324" y="4684536"/>
            <a:chExt cx="11573353" cy="2176115"/>
          </a:xfrm>
        </p:grpSpPr>
        <p:sp>
          <p:nvSpPr>
            <p:cNvPr id="3" name="Freeform 10">
              <a:extLst>
                <a:ext uri="{FF2B5EF4-FFF2-40B4-BE49-F238E27FC236}">
                  <a16:creationId xmlns:a16="http://schemas.microsoft.com/office/drawing/2014/main" id="{C0254C9C-EA6C-E992-5E15-12F67B3792B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580452" y="4684536"/>
              <a:ext cx="61200" cy="161567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406A943-9F41-D2D2-35EF-E9D15A5FFB3A}"/>
                </a:ext>
              </a:extLst>
            </p:cNvPr>
            <p:cNvSpPr/>
            <p:nvPr userDrawn="1"/>
          </p:nvSpPr>
          <p:spPr>
            <a:xfrm>
              <a:off x="3523144" y="5140280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DBD74D0-1798-E843-EF53-4BE8BD460B32}"/>
                </a:ext>
              </a:extLst>
            </p:cNvPr>
            <p:cNvSpPr/>
            <p:nvPr userDrawn="1"/>
          </p:nvSpPr>
          <p:spPr>
            <a:xfrm>
              <a:off x="6101400" y="5294244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541B640-242B-BBEE-87A2-DECA4D0E8424}"/>
                </a:ext>
              </a:extLst>
            </p:cNvPr>
            <p:cNvSpPr/>
            <p:nvPr userDrawn="1"/>
          </p:nvSpPr>
          <p:spPr>
            <a:xfrm>
              <a:off x="309324" y="5063298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reeform 16">
              <a:extLst>
                <a:ext uri="{FF2B5EF4-FFF2-40B4-BE49-F238E27FC236}">
                  <a16:creationId xmlns:a16="http://schemas.microsoft.com/office/drawing/2014/main" id="{8247B6E2-0E43-A316-1835-E4CA57E6EA1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429836" y="4937044"/>
              <a:ext cx="61200" cy="161567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Freeform 17">
              <a:extLst>
                <a:ext uri="{FF2B5EF4-FFF2-40B4-BE49-F238E27FC236}">
                  <a16:creationId xmlns:a16="http://schemas.microsoft.com/office/drawing/2014/main" id="{DEA90EB9-5D84-CF3B-7C71-395E3D0A9C4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43656" y="4810790"/>
              <a:ext cx="61200" cy="161567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C6597D9-93AD-9E14-EDAC-083BDB7BEC40}"/>
                </a:ext>
              </a:extLst>
            </p:cNvPr>
            <p:cNvSpPr/>
            <p:nvPr userDrawn="1"/>
          </p:nvSpPr>
          <p:spPr>
            <a:xfrm>
              <a:off x="7372528" y="5217262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reeform 28">
              <a:extLst>
                <a:ext uri="{FF2B5EF4-FFF2-40B4-BE49-F238E27FC236}">
                  <a16:creationId xmlns:a16="http://schemas.microsoft.com/office/drawing/2014/main" id="{2FDCBFD3-E3B5-F202-C374-7A95F5980DF9}"/>
                </a:ext>
              </a:extLst>
            </p:cNvPr>
            <p:cNvSpPr/>
            <p:nvPr userDrawn="1"/>
          </p:nvSpPr>
          <p:spPr>
            <a:xfrm>
              <a:off x="944888" y="5679154"/>
              <a:ext cx="25200" cy="1178846"/>
            </a:xfrm>
            <a:custGeom>
              <a:avLst/>
              <a:gdLst>
                <a:gd name="connsiteX0" fmla="*/ 0 w 25200"/>
                <a:gd name="connsiteY0" fmla="*/ 0 h 1178846"/>
                <a:gd name="connsiteX1" fmla="*/ 25200 w 25200"/>
                <a:gd name="connsiteY1" fmla="*/ 0 h 1178846"/>
                <a:gd name="connsiteX2" fmla="*/ 25200 w 25200"/>
                <a:gd name="connsiteY2" fmla="*/ 1178846 h 1178846"/>
                <a:gd name="connsiteX3" fmla="*/ 0 w 25200"/>
                <a:gd name="connsiteY3" fmla="*/ 1178846 h 11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178846">
                  <a:moveTo>
                    <a:pt x="0" y="0"/>
                  </a:moveTo>
                  <a:lnTo>
                    <a:pt x="25200" y="0"/>
                  </a:lnTo>
                  <a:lnTo>
                    <a:pt x="25200" y="1178846"/>
                  </a:lnTo>
                  <a:lnTo>
                    <a:pt x="0" y="1178846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" name="Freeform 30">
              <a:extLst>
                <a:ext uri="{FF2B5EF4-FFF2-40B4-BE49-F238E27FC236}">
                  <a16:creationId xmlns:a16="http://schemas.microsoft.com/office/drawing/2014/main" id="{4CAAB506-027A-B25A-7408-B6918C2B0163}"/>
                </a:ext>
              </a:extLst>
            </p:cNvPr>
            <p:cNvSpPr/>
            <p:nvPr userDrawn="1"/>
          </p:nvSpPr>
          <p:spPr>
            <a:xfrm>
              <a:off x="2252016" y="6064064"/>
              <a:ext cx="25200" cy="793936"/>
            </a:xfrm>
            <a:custGeom>
              <a:avLst/>
              <a:gdLst>
                <a:gd name="connsiteX0" fmla="*/ 0 w 25200"/>
                <a:gd name="connsiteY0" fmla="*/ 0 h 793936"/>
                <a:gd name="connsiteX1" fmla="*/ 25200 w 25200"/>
                <a:gd name="connsiteY1" fmla="*/ 0 h 793936"/>
                <a:gd name="connsiteX2" fmla="*/ 25200 w 25200"/>
                <a:gd name="connsiteY2" fmla="*/ 793936 h 793936"/>
                <a:gd name="connsiteX3" fmla="*/ 0 w 25200"/>
                <a:gd name="connsiteY3" fmla="*/ 793936 h 793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793936">
                  <a:moveTo>
                    <a:pt x="0" y="0"/>
                  </a:moveTo>
                  <a:lnTo>
                    <a:pt x="25200" y="0"/>
                  </a:lnTo>
                  <a:lnTo>
                    <a:pt x="25200" y="793936"/>
                  </a:lnTo>
                  <a:lnTo>
                    <a:pt x="0" y="793936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2D002183-573B-F6C2-C349-0A7346C31DDC}"/>
                </a:ext>
              </a:extLst>
            </p:cNvPr>
            <p:cNvSpPr/>
            <p:nvPr userDrawn="1"/>
          </p:nvSpPr>
          <p:spPr>
            <a:xfrm>
              <a:off x="2887580" y="5833118"/>
              <a:ext cx="25200" cy="1024882"/>
            </a:xfrm>
            <a:custGeom>
              <a:avLst/>
              <a:gdLst>
                <a:gd name="connsiteX0" fmla="*/ 0 w 25200"/>
                <a:gd name="connsiteY0" fmla="*/ 0 h 1024882"/>
                <a:gd name="connsiteX1" fmla="*/ 25200 w 25200"/>
                <a:gd name="connsiteY1" fmla="*/ 0 h 1024882"/>
                <a:gd name="connsiteX2" fmla="*/ 25200 w 25200"/>
                <a:gd name="connsiteY2" fmla="*/ 1024882 h 1024882"/>
                <a:gd name="connsiteX3" fmla="*/ 0 w 25200"/>
                <a:gd name="connsiteY3" fmla="*/ 1024882 h 1024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024882">
                  <a:moveTo>
                    <a:pt x="0" y="0"/>
                  </a:moveTo>
                  <a:lnTo>
                    <a:pt x="25200" y="0"/>
                  </a:lnTo>
                  <a:lnTo>
                    <a:pt x="25200" y="1024882"/>
                  </a:lnTo>
                  <a:lnTo>
                    <a:pt x="0" y="1024882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3458DB6B-84AB-BE00-A98D-033DBF7F3CEC}"/>
                </a:ext>
              </a:extLst>
            </p:cNvPr>
            <p:cNvSpPr/>
            <p:nvPr userDrawn="1"/>
          </p:nvSpPr>
          <p:spPr>
            <a:xfrm>
              <a:off x="4158708" y="5371226"/>
              <a:ext cx="25200" cy="1486774"/>
            </a:xfrm>
            <a:custGeom>
              <a:avLst/>
              <a:gdLst>
                <a:gd name="connsiteX0" fmla="*/ 0 w 25200"/>
                <a:gd name="connsiteY0" fmla="*/ 0 h 1486774"/>
                <a:gd name="connsiteX1" fmla="*/ 25200 w 25200"/>
                <a:gd name="connsiteY1" fmla="*/ 0 h 1486774"/>
                <a:gd name="connsiteX2" fmla="*/ 25200 w 25200"/>
                <a:gd name="connsiteY2" fmla="*/ 1486774 h 1486774"/>
                <a:gd name="connsiteX3" fmla="*/ 0 w 25200"/>
                <a:gd name="connsiteY3" fmla="*/ 1486774 h 1486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486774">
                  <a:moveTo>
                    <a:pt x="0" y="0"/>
                  </a:moveTo>
                  <a:lnTo>
                    <a:pt x="25200" y="0"/>
                  </a:lnTo>
                  <a:lnTo>
                    <a:pt x="25200" y="1486774"/>
                  </a:lnTo>
                  <a:lnTo>
                    <a:pt x="0" y="148677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" name="Freeform 37">
              <a:extLst>
                <a:ext uri="{FF2B5EF4-FFF2-40B4-BE49-F238E27FC236}">
                  <a16:creationId xmlns:a16="http://schemas.microsoft.com/office/drawing/2014/main" id="{A4B62397-A998-6F3C-912A-C7000F3EB74F}"/>
                </a:ext>
              </a:extLst>
            </p:cNvPr>
            <p:cNvSpPr/>
            <p:nvPr userDrawn="1"/>
          </p:nvSpPr>
          <p:spPr>
            <a:xfrm>
              <a:off x="4794272" y="5448208"/>
              <a:ext cx="25200" cy="1409792"/>
            </a:xfrm>
            <a:custGeom>
              <a:avLst/>
              <a:gdLst>
                <a:gd name="connsiteX0" fmla="*/ 0 w 25200"/>
                <a:gd name="connsiteY0" fmla="*/ 0 h 1409792"/>
                <a:gd name="connsiteX1" fmla="*/ 25200 w 25200"/>
                <a:gd name="connsiteY1" fmla="*/ 0 h 1409792"/>
                <a:gd name="connsiteX2" fmla="*/ 25200 w 25200"/>
                <a:gd name="connsiteY2" fmla="*/ 1409792 h 1409792"/>
                <a:gd name="connsiteX3" fmla="*/ 0 w 25200"/>
                <a:gd name="connsiteY3" fmla="*/ 1409792 h 1409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409792">
                  <a:moveTo>
                    <a:pt x="0" y="0"/>
                  </a:moveTo>
                  <a:lnTo>
                    <a:pt x="25200" y="0"/>
                  </a:lnTo>
                  <a:lnTo>
                    <a:pt x="25200" y="1409792"/>
                  </a:lnTo>
                  <a:lnTo>
                    <a:pt x="0" y="1409792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39">
              <a:extLst>
                <a:ext uri="{FF2B5EF4-FFF2-40B4-BE49-F238E27FC236}">
                  <a16:creationId xmlns:a16="http://schemas.microsoft.com/office/drawing/2014/main" id="{7931AB27-D710-9446-950E-954D34D125A6}"/>
                </a:ext>
              </a:extLst>
            </p:cNvPr>
            <p:cNvSpPr/>
            <p:nvPr userDrawn="1"/>
          </p:nvSpPr>
          <p:spPr>
            <a:xfrm>
              <a:off x="6736964" y="6141046"/>
              <a:ext cx="25200" cy="716954"/>
            </a:xfrm>
            <a:custGeom>
              <a:avLst/>
              <a:gdLst>
                <a:gd name="connsiteX0" fmla="*/ 0 w 25200"/>
                <a:gd name="connsiteY0" fmla="*/ 0 h 716954"/>
                <a:gd name="connsiteX1" fmla="*/ 25200 w 25200"/>
                <a:gd name="connsiteY1" fmla="*/ 0 h 716954"/>
                <a:gd name="connsiteX2" fmla="*/ 25200 w 25200"/>
                <a:gd name="connsiteY2" fmla="*/ 716954 h 716954"/>
                <a:gd name="connsiteX3" fmla="*/ 0 w 25200"/>
                <a:gd name="connsiteY3" fmla="*/ 716954 h 716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716954">
                  <a:moveTo>
                    <a:pt x="0" y="0"/>
                  </a:moveTo>
                  <a:lnTo>
                    <a:pt x="25200" y="0"/>
                  </a:lnTo>
                  <a:lnTo>
                    <a:pt x="25200" y="716954"/>
                  </a:lnTo>
                  <a:lnTo>
                    <a:pt x="0" y="71695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AEBA23FB-8045-6B45-9D71-2C118614C548}"/>
                </a:ext>
              </a:extLst>
            </p:cNvPr>
            <p:cNvSpPr/>
            <p:nvPr userDrawn="1"/>
          </p:nvSpPr>
          <p:spPr>
            <a:xfrm>
              <a:off x="8008092" y="5756136"/>
              <a:ext cx="25200" cy="1101864"/>
            </a:xfrm>
            <a:custGeom>
              <a:avLst/>
              <a:gdLst>
                <a:gd name="connsiteX0" fmla="*/ 0 w 25200"/>
                <a:gd name="connsiteY0" fmla="*/ 0 h 1101864"/>
                <a:gd name="connsiteX1" fmla="*/ 25200 w 25200"/>
                <a:gd name="connsiteY1" fmla="*/ 0 h 1101864"/>
                <a:gd name="connsiteX2" fmla="*/ 25200 w 25200"/>
                <a:gd name="connsiteY2" fmla="*/ 1101864 h 1101864"/>
                <a:gd name="connsiteX3" fmla="*/ 0 w 25200"/>
                <a:gd name="connsiteY3" fmla="*/ 1101864 h 110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101864">
                  <a:moveTo>
                    <a:pt x="0" y="0"/>
                  </a:moveTo>
                  <a:lnTo>
                    <a:pt x="25200" y="0"/>
                  </a:lnTo>
                  <a:lnTo>
                    <a:pt x="25200" y="1101864"/>
                  </a:lnTo>
                  <a:lnTo>
                    <a:pt x="0" y="110186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 43">
              <a:extLst>
                <a:ext uri="{FF2B5EF4-FFF2-40B4-BE49-F238E27FC236}">
                  <a16:creationId xmlns:a16="http://schemas.microsoft.com/office/drawing/2014/main" id="{47D2A404-7850-6367-8C68-611A09CDC560}"/>
                </a:ext>
              </a:extLst>
            </p:cNvPr>
            <p:cNvSpPr/>
            <p:nvPr userDrawn="1"/>
          </p:nvSpPr>
          <p:spPr>
            <a:xfrm>
              <a:off x="9315220" y="5602172"/>
              <a:ext cx="25200" cy="1255828"/>
            </a:xfrm>
            <a:custGeom>
              <a:avLst/>
              <a:gdLst>
                <a:gd name="connsiteX0" fmla="*/ 0 w 25200"/>
                <a:gd name="connsiteY0" fmla="*/ 0 h 1255828"/>
                <a:gd name="connsiteX1" fmla="*/ 25200 w 25200"/>
                <a:gd name="connsiteY1" fmla="*/ 0 h 1255828"/>
                <a:gd name="connsiteX2" fmla="*/ 25200 w 25200"/>
                <a:gd name="connsiteY2" fmla="*/ 1255828 h 1255828"/>
                <a:gd name="connsiteX3" fmla="*/ 0 w 25200"/>
                <a:gd name="connsiteY3" fmla="*/ 1255828 h 1255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255828">
                  <a:moveTo>
                    <a:pt x="0" y="0"/>
                  </a:moveTo>
                  <a:lnTo>
                    <a:pt x="25200" y="0"/>
                  </a:lnTo>
                  <a:lnTo>
                    <a:pt x="25200" y="1255828"/>
                  </a:lnTo>
                  <a:lnTo>
                    <a:pt x="0" y="125582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8" name="Freeform 45">
              <a:extLst>
                <a:ext uri="{FF2B5EF4-FFF2-40B4-BE49-F238E27FC236}">
                  <a16:creationId xmlns:a16="http://schemas.microsoft.com/office/drawing/2014/main" id="{C1C989C5-A407-B562-B713-576A2485A695}"/>
                </a:ext>
              </a:extLst>
            </p:cNvPr>
            <p:cNvSpPr/>
            <p:nvPr userDrawn="1"/>
          </p:nvSpPr>
          <p:spPr>
            <a:xfrm>
              <a:off x="9950784" y="5987082"/>
              <a:ext cx="25200" cy="870918"/>
            </a:xfrm>
            <a:custGeom>
              <a:avLst/>
              <a:gdLst>
                <a:gd name="connsiteX0" fmla="*/ 0 w 25200"/>
                <a:gd name="connsiteY0" fmla="*/ 0 h 870918"/>
                <a:gd name="connsiteX1" fmla="*/ 25200 w 25200"/>
                <a:gd name="connsiteY1" fmla="*/ 0 h 870918"/>
                <a:gd name="connsiteX2" fmla="*/ 25200 w 25200"/>
                <a:gd name="connsiteY2" fmla="*/ 870918 h 870918"/>
                <a:gd name="connsiteX3" fmla="*/ 0 w 25200"/>
                <a:gd name="connsiteY3" fmla="*/ 870918 h 870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870918">
                  <a:moveTo>
                    <a:pt x="0" y="0"/>
                  </a:moveTo>
                  <a:lnTo>
                    <a:pt x="25200" y="0"/>
                  </a:lnTo>
                  <a:lnTo>
                    <a:pt x="25200" y="870918"/>
                  </a:lnTo>
                  <a:lnTo>
                    <a:pt x="0" y="87091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" name="Freeform 47">
              <a:extLst>
                <a:ext uri="{FF2B5EF4-FFF2-40B4-BE49-F238E27FC236}">
                  <a16:creationId xmlns:a16="http://schemas.microsoft.com/office/drawing/2014/main" id="{1350824C-89AB-C83C-C91C-B70EF5D0AC7E}"/>
                </a:ext>
              </a:extLst>
            </p:cNvPr>
            <p:cNvSpPr/>
            <p:nvPr userDrawn="1"/>
          </p:nvSpPr>
          <p:spPr>
            <a:xfrm>
              <a:off x="10586348" y="6218024"/>
              <a:ext cx="25200" cy="639977"/>
            </a:xfrm>
            <a:custGeom>
              <a:avLst/>
              <a:gdLst>
                <a:gd name="connsiteX0" fmla="*/ 0 w 25200"/>
                <a:gd name="connsiteY0" fmla="*/ 0 h 639977"/>
                <a:gd name="connsiteX1" fmla="*/ 25200 w 25200"/>
                <a:gd name="connsiteY1" fmla="*/ 0 h 639977"/>
                <a:gd name="connsiteX2" fmla="*/ 25200 w 25200"/>
                <a:gd name="connsiteY2" fmla="*/ 639977 h 639977"/>
                <a:gd name="connsiteX3" fmla="*/ 0 w 25200"/>
                <a:gd name="connsiteY3" fmla="*/ 639977 h 639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639977">
                  <a:moveTo>
                    <a:pt x="0" y="0"/>
                  </a:moveTo>
                  <a:lnTo>
                    <a:pt x="25200" y="0"/>
                  </a:lnTo>
                  <a:lnTo>
                    <a:pt x="25200" y="639977"/>
                  </a:lnTo>
                  <a:lnTo>
                    <a:pt x="0" y="639977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49">
              <a:extLst>
                <a:ext uri="{FF2B5EF4-FFF2-40B4-BE49-F238E27FC236}">
                  <a16:creationId xmlns:a16="http://schemas.microsoft.com/office/drawing/2014/main" id="{23D3AF71-F4C0-BAED-244E-DCBD08F3EA61}"/>
                </a:ext>
              </a:extLst>
            </p:cNvPr>
            <p:cNvSpPr/>
            <p:nvPr userDrawn="1"/>
          </p:nvSpPr>
          <p:spPr>
            <a:xfrm>
              <a:off x="11221912" y="5525190"/>
              <a:ext cx="25200" cy="1332810"/>
            </a:xfrm>
            <a:custGeom>
              <a:avLst/>
              <a:gdLst>
                <a:gd name="connsiteX0" fmla="*/ 0 w 25200"/>
                <a:gd name="connsiteY0" fmla="*/ 0 h 1332810"/>
                <a:gd name="connsiteX1" fmla="*/ 25200 w 25200"/>
                <a:gd name="connsiteY1" fmla="*/ 0 h 1332810"/>
                <a:gd name="connsiteX2" fmla="*/ 25200 w 25200"/>
                <a:gd name="connsiteY2" fmla="*/ 1332810 h 1332810"/>
                <a:gd name="connsiteX3" fmla="*/ 0 w 25200"/>
                <a:gd name="connsiteY3" fmla="*/ 1332810 h 133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332810">
                  <a:moveTo>
                    <a:pt x="0" y="0"/>
                  </a:moveTo>
                  <a:lnTo>
                    <a:pt x="25200" y="0"/>
                  </a:lnTo>
                  <a:lnTo>
                    <a:pt x="25200" y="1332810"/>
                  </a:lnTo>
                  <a:lnTo>
                    <a:pt x="0" y="133281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Freeform 51">
              <a:extLst>
                <a:ext uri="{FF2B5EF4-FFF2-40B4-BE49-F238E27FC236}">
                  <a16:creationId xmlns:a16="http://schemas.microsoft.com/office/drawing/2014/main" id="{758A5ADF-01F4-3710-BF33-47A561494866}"/>
                </a:ext>
              </a:extLst>
            </p:cNvPr>
            <p:cNvSpPr/>
            <p:nvPr userDrawn="1"/>
          </p:nvSpPr>
          <p:spPr>
            <a:xfrm>
              <a:off x="11857477" y="5910100"/>
              <a:ext cx="25200" cy="947900"/>
            </a:xfrm>
            <a:custGeom>
              <a:avLst/>
              <a:gdLst>
                <a:gd name="connsiteX0" fmla="*/ 0 w 25200"/>
                <a:gd name="connsiteY0" fmla="*/ 0 h 947900"/>
                <a:gd name="connsiteX1" fmla="*/ 25200 w 25200"/>
                <a:gd name="connsiteY1" fmla="*/ 0 h 947900"/>
                <a:gd name="connsiteX2" fmla="*/ 25200 w 25200"/>
                <a:gd name="connsiteY2" fmla="*/ 947900 h 947900"/>
                <a:gd name="connsiteX3" fmla="*/ 0 w 25200"/>
                <a:gd name="connsiteY3" fmla="*/ 947900 h 94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947900">
                  <a:moveTo>
                    <a:pt x="0" y="0"/>
                  </a:moveTo>
                  <a:lnTo>
                    <a:pt x="25200" y="0"/>
                  </a:lnTo>
                  <a:lnTo>
                    <a:pt x="25200" y="947900"/>
                  </a:lnTo>
                  <a:lnTo>
                    <a:pt x="0" y="94790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9ED6FF6D-E209-303E-C09F-D0BED1E668CB}"/>
              </a:ext>
            </a:extLst>
          </p:cNvPr>
          <p:cNvSpPr txBox="1"/>
          <p:nvPr/>
        </p:nvSpPr>
        <p:spPr>
          <a:xfrm>
            <a:off x="3363958" y="3960262"/>
            <a:ext cx="5290495" cy="4320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800"/>
              </a:lnSpc>
            </a:pPr>
            <a:r>
              <a:rPr lang="en-US" sz="2000" b="1" spc="400" dirty="0">
                <a:latin typeface="Play" panose="00000500000000000000" pitchFamily="2" charset="0"/>
                <a:cs typeface="Space Grotesk" pitchFamily="2" charset="0"/>
              </a:rPr>
              <a:t>Lukas Gosl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203A83D-15FC-86E3-E67D-0B27149CEBD7}"/>
              </a:ext>
            </a:extLst>
          </p:cNvPr>
          <p:cNvSpPr txBox="1"/>
          <p:nvPr/>
        </p:nvSpPr>
        <p:spPr>
          <a:xfrm>
            <a:off x="10920872" y="6138370"/>
            <a:ext cx="8905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BF03E32-72BD-0347-AAE1-87B13DE37447}" type="slidenum">
              <a:rPr lang="en-ID" sz="2000" b="1" u="none" strike="noStrike" smtClean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1</a:t>
            </a:fld>
            <a:r>
              <a:rPr lang="en-ID" sz="2000" b="1" u="none" strike="noStrike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 </a:t>
            </a:r>
            <a:r>
              <a:rPr lang="en-ID" sz="1400" u="none" strike="noStrike" dirty="0">
                <a:solidFill>
                  <a:schemeClr val="bg1"/>
                </a:soli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/ 15</a:t>
            </a:r>
            <a:endParaRPr lang="en-US" sz="2000" dirty="0">
              <a:solidFill>
                <a:schemeClr val="bg1"/>
              </a:solidFill>
              <a:latin typeface="Play" panose="00000500000000000000" pitchFamily="2" charset="0"/>
              <a:ea typeface="Roboto Mono" pitchFamily="49" charset="0"/>
              <a:cs typeface="Space Grotesk" pitchFamily="2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1A93C3EE-8D33-5092-8947-C57C4C294033}"/>
              </a:ext>
            </a:extLst>
          </p:cNvPr>
          <p:cNvSpPr/>
          <p:nvPr/>
        </p:nvSpPr>
        <p:spPr>
          <a:xfrm>
            <a:off x="3368799" y="3984537"/>
            <a:ext cx="5285657" cy="439362"/>
          </a:xfrm>
          <a:prstGeom prst="roundRect">
            <a:avLst>
              <a:gd name="adj" fmla="val 18112"/>
            </a:avLst>
          </a:prstGeom>
          <a:noFill/>
          <a:ln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gradFill>
                <a:gsLst>
                  <a:gs pos="0">
                    <a:schemeClr val="accent1"/>
                  </a:gs>
                  <a:gs pos="99000">
                    <a:schemeClr val="accent2"/>
                  </a:gs>
                </a:gsLst>
                <a:lin ang="0" scaled="1"/>
              </a:gradFill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FFDE28B2-7605-D9E6-2B25-4FE00842F4E8}"/>
              </a:ext>
            </a:extLst>
          </p:cNvPr>
          <p:cNvSpPr/>
          <p:nvPr/>
        </p:nvSpPr>
        <p:spPr>
          <a:xfrm>
            <a:off x="3363959" y="4686913"/>
            <a:ext cx="5340895" cy="439362"/>
          </a:xfrm>
          <a:prstGeom prst="roundRect">
            <a:avLst>
              <a:gd name="adj" fmla="val 18112"/>
            </a:avLst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gradFill>
                <a:gsLst>
                  <a:gs pos="0">
                    <a:schemeClr val="accent1"/>
                  </a:gs>
                  <a:gs pos="99000">
                    <a:schemeClr val="accent2"/>
                  </a:gs>
                </a:gsLst>
                <a:lin ang="0" scaled="1"/>
              </a:gra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26ABA97-73EA-77D4-BF16-AECA3FC29EBF}"/>
              </a:ext>
            </a:extLst>
          </p:cNvPr>
          <p:cNvSpPr txBox="1"/>
          <p:nvPr/>
        </p:nvSpPr>
        <p:spPr>
          <a:xfrm>
            <a:off x="3393266" y="4692957"/>
            <a:ext cx="5290495" cy="4260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800"/>
              </a:lnSpc>
            </a:pPr>
            <a:r>
              <a:rPr lang="en-US" sz="1900" b="1" spc="400" dirty="0">
                <a:solidFill>
                  <a:schemeClr val="bg1"/>
                </a:solidFill>
                <a:latin typeface="Play" panose="00000500000000000000" pitchFamily="2" charset="0"/>
                <a:cs typeface="Space Grotesk" pitchFamily="2" charset="0"/>
              </a:rPr>
              <a:t>    l-gosling			</a:t>
            </a:r>
            <a:r>
              <a:rPr lang="en-US" sz="1900" b="1" spc="400" dirty="0" err="1">
                <a:solidFill>
                  <a:schemeClr val="bg1"/>
                </a:solidFill>
                <a:latin typeface="Play" panose="00000500000000000000" pitchFamily="2" charset="0"/>
                <a:cs typeface="Space Grotesk" pitchFamily="2" charset="0"/>
              </a:rPr>
              <a:t>lukas</a:t>
            </a:r>
            <a:r>
              <a:rPr lang="en-US" sz="1900" b="1" spc="400" dirty="0">
                <a:solidFill>
                  <a:schemeClr val="bg1"/>
                </a:solidFill>
                <a:latin typeface="Play" panose="00000500000000000000" pitchFamily="2" charset="0"/>
                <a:cs typeface="Space Grotesk" pitchFamily="2" charset="0"/>
              </a:rPr>
              <a:t>-gosling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DCE7319-2A64-5149-9B08-3EB676BCA7C4}"/>
              </a:ext>
            </a:extLst>
          </p:cNvPr>
          <p:cNvSpPr txBox="1">
            <a:spLocks/>
          </p:cNvSpPr>
          <p:nvPr/>
        </p:nvSpPr>
        <p:spPr>
          <a:xfrm>
            <a:off x="520300" y="2639493"/>
            <a:ext cx="11021996" cy="9054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/>
              <a:t>Microsoft security test automation framework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ED3DB85-BE2C-FEA5-6097-ECF2B627EB7E}"/>
              </a:ext>
            </a:extLst>
          </p:cNvPr>
          <p:cNvGrpSpPr/>
          <p:nvPr/>
        </p:nvGrpSpPr>
        <p:grpSpPr>
          <a:xfrm>
            <a:off x="2835067" y="1123045"/>
            <a:ext cx="5808589" cy="1631216"/>
            <a:chOff x="2835067" y="1123045"/>
            <a:chExt cx="5808589" cy="1631216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73641AE-B080-7FF6-1C78-E41F6FD55660}"/>
                </a:ext>
              </a:extLst>
            </p:cNvPr>
            <p:cNvSpPr txBox="1"/>
            <p:nvPr/>
          </p:nvSpPr>
          <p:spPr>
            <a:xfrm>
              <a:off x="3936999" y="1123045"/>
              <a:ext cx="4706657" cy="1631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tabLst>
                  <a:tab pos="3835400" algn="l"/>
                </a:tabLst>
              </a:pPr>
              <a:r>
                <a:rPr lang="en-US" sz="10000" b="1" dirty="0">
                  <a:latin typeface="Space Grotesk" pitchFamily="2" charset="0"/>
                  <a:cs typeface="Space Grotesk" pitchFamily="2" charset="0"/>
                </a:rPr>
                <a:t>Maester</a:t>
              </a:r>
            </a:p>
          </p:txBody>
        </p:sp>
        <p:pic>
          <p:nvPicPr>
            <p:cNvPr id="30" name="Picture 29" descr="A logo of a fire&#10;&#10;Description automatically generated">
              <a:extLst>
                <a:ext uri="{FF2B5EF4-FFF2-40B4-BE49-F238E27FC236}">
                  <a16:creationId xmlns:a16="http://schemas.microsoft.com/office/drawing/2014/main" id="{157749E1-5D50-7772-4091-9AD066FBCB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35067" y="1188232"/>
              <a:ext cx="1323641" cy="1323641"/>
            </a:xfrm>
            <a:prstGeom prst="rect">
              <a:avLst/>
            </a:prstGeom>
          </p:spPr>
        </p:pic>
      </p:grpSp>
      <p:pic>
        <p:nvPicPr>
          <p:cNvPr id="33" name="Grafik 32" descr="Ein Bild, das Katze, Silhouette, Clipart, Kreativität enthält.&#10;&#10;KI-generierte Inhalte können fehlerhaft sein.">
            <a:extLst>
              <a:ext uri="{FF2B5EF4-FFF2-40B4-BE49-F238E27FC236}">
                <a16:creationId xmlns:a16="http://schemas.microsoft.com/office/drawing/2014/main" id="{E4E8343E-FBB9-A624-4B88-E12A694F14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58448" y="4751821"/>
            <a:ext cx="316447" cy="309568"/>
          </a:xfrm>
          <a:prstGeom prst="rect">
            <a:avLst/>
          </a:prstGeom>
        </p:spPr>
      </p:pic>
      <p:pic>
        <p:nvPicPr>
          <p:cNvPr id="35" name="Grafik 34" descr="Ein Bild, das Logo, Grafiken, Symbol, Schrift enthält.&#10;&#10;KI-generierte Inhalte können fehlerhaft sein.">
            <a:extLst>
              <a:ext uri="{FF2B5EF4-FFF2-40B4-BE49-F238E27FC236}">
                <a16:creationId xmlns:a16="http://schemas.microsoft.com/office/drawing/2014/main" id="{22A342C7-D3BB-6EF5-1FB8-E483C2B447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95193" y="4758015"/>
            <a:ext cx="333809" cy="309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1093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B362A3B-0F83-F6A0-EDD7-AE7A17D32F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4" imgH="623" progId="TCLayout.ActiveDocument.1">
                  <p:embed/>
                </p:oleObj>
              </mc:Choice>
              <mc:Fallback>
                <p:oleObj name="think-cell Folie" r:id="rId4" imgW="624" imgH="62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362A3B-0F83-F6A0-EDD7-AE7A17D32F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636F93C-6E22-2581-9971-D4B26EF563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Überblick in Maest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47071D-31EA-8F99-61E4-A57FDC469A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ecurity </a:t>
            </a:r>
            <a:r>
              <a:rPr lang="de-DE" dirty="0" err="1"/>
              <a:t>as</a:t>
            </a:r>
            <a:r>
              <a:rPr lang="de-DE" dirty="0"/>
              <a:t> Code (</a:t>
            </a:r>
            <a:r>
              <a:rPr lang="de-DE" dirty="0" err="1"/>
              <a:t>SaC</a:t>
            </a:r>
            <a:r>
              <a:rPr lang="de-DE" dirty="0"/>
              <a:t>)</a:t>
            </a:r>
          </a:p>
          <a:p>
            <a:r>
              <a:rPr lang="de-DE" dirty="0"/>
              <a:t>Open Source Tool mit aktiver Community </a:t>
            </a:r>
          </a:p>
          <a:p>
            <a:r>
              <a:rPr lang="de-DE" dirty="0"/>
              <a:t>Basiert auf PowerShell und nutzt Graph API</a:t>
            </a:r>
          </a:p>
          <a:p>
            <a:r>
              <a:rPr lang="de-DE" dirty="0"/>
              <a:t>295 Tests </a:t>
            </a:r>
          </a:p>
          <a:p>
            <a:r>
              <a:rPr lang="de-DE" dirty="0"/>
              <a:t>Initialer Fokus auf Entra ID</a:t>
            </a:r>
          </a:p>
          <a:p>
            <a:r>
              <a:rPr lang="de-DE" dirty="0"/>
              <a:t>Ausführung on Demand oder über Pipelines</a:t>
            </a:r>
          </a:p>
          <a:p>
            <a:r>
              <a:rPr lang="de-DE" dirty="0"/>
              <a:t>Reports per Mail und Teams möglich</a:t>
            </a:r>
          </a:p>
          <a:p>
            <a:endParaRPr lang="de-DE" dirty="0"/>
          </a:p>
        </p:txBody>
      </p:sp>
      <p:pic>
        <p:nvPicPr>
          <p:cNvPr id="5" name="Grafik 4" descr="Ein Bild, das Screenshot, Grafiken, Symbol, Design enthält.&#10;&#10;KI-generierte Inhalte können fehlerhaft sein.">
            <a:extLst>
              <a:ext uri="{FF2B5EF4-FFF2-40B4-BE49-F238E27FC236}">
                <a16:creationId xmlns:a16="http://schemas.microsoft.com/office/drawing/2014/main" id="{72F17AD7-EFE5-39E3-57C8-CDC830B661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5813" y="1339948"/>
            <a:ext cx="3574473" cy="3574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173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87B2CCC-48C7-73B9-DDE9-6F174727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95224"/>
            <a:ext cx="10515600" cy="132556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aester Framework</a:t>
            </a: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8E60BF9B-FA2F-7916-7C26-BE1E80D6A6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8182" y="1110161"/>
            <a:ext cx="8437418" cy="5473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7646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4D59B71-4BE9-35D2-7129-8D1A727871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4" imgH="623" progId="TCLayout.ActiveDocument.1">
                  <p:embed/>
                </p:oleObj>
              </mc:Choice>
              <mc:Fallback>
                <p:oleObj name="think-cell Folie" r:id="rId4" imgW="624" imgH="6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D59B71-4BE9-35D2-7129-8D1A727871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2DDCAC5-754C-F713-FF9B-0CF25DB30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On Demand Ausführung - Demo</a:t>
            </a:r>
          </a:p>
        </p:txBody>
      </p:sp>
      <p:pic>
        <p:nvPicPr>
          <p:cNvPr id="10" name="Inhaltsplatzhalter 9" descr="Ein Bild, das Screenshot, Display, Computer, Multimedia enthält.&#10;&#10;KI-generierte Inhalte können fehlerhaft sein.">
            <a:extLst>
              <a:ext uri="{FF2B5EF4-FFF2-40B4-BE49-F238E27FC236}">
                <a16:creationId xmlns:a16="http://schemas.microsoft.com/office/drawing/2014/main" id="{DA520DEC-5831-698B-373B-5C91A9EC9B9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027872" y="1092305"/>
            <a:ext cx="5787261" cy="5787261"/>
          </a:xfrm>
        </p:spPr>
      </p:pic>
    </p:spTree>
    <p:extLst>
      <p:ext uri="{BB962C8B-B14F-4D97-AF65-F5344CB8AC3E}">
        <p14:creationId xmlns:p14="http://schemas.microsoft.com/office/powerpoint/2010/main" val="39315945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4B12F31-A678-B85A-1853-4E066554F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4" imgH="623" progId="TCLayout.ActiveDocument.1">
                  <p:embed/>
                </p:oleObj>
              </mc:Choice>
              <mc:Fallback>
                <p:oleObj name="think-cell Folie" r:id="rId4" imgW="624" imgH="62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B12F31-A678-B85A-1853-4E066554F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9F8827D-2B37-950F-5BBA-8B3847694D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emo für </a:t>
            </a:r>
            <a:r>
              <a:rPr lang="de-DE" dirty="0" err="1"/>
              <a:t>Gitlab</a:t>
            </a:r>
            <a:r>
              <a:rPr lang="de-DE" dirty="0"/>
              <a:t> oder GitHub - Demo</a:t>
            </a:r>
          </a:p>
        </p:txBody>
      </p:sp>
      <p:pic>
        <p:nvPicPr>
          <p:cNvPr id="5" name="Inhaltsplatzhalter 9" descr="Ein Bild, das Screenshot, Display, Computer, Multimedia enthält.&#10;&#10;KI-generierte Inhalte können fehlerhaft sein.">
            <a:extLst>
              <a:ext uri="{FF2B5EF4-FFF2-40B4-BE49-F238E27FC236}">
                <a16:creationId xmlns:a16="http://schemas.microsoft.com/office/drawing/2014/main" id="{C73AF104-6F94-8B43-ADF5-9A26602F0C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7872" y="1092305"/>
            <a:ext cx="5787261" cy="5787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423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D95610F-322B-4DD1-8AA0-F9773EDD4C17}"/>
              </a:ext>
            </a:extLst>
          </p:cNvPr>
          <p:cNvSpPr txBox="1"/>
          <p:nvPr/>
        </p:nvSpPr>
        <p:spPr>
          <a:xfrm>
            <a:off x="1411586" y="1558764"/>
            <a:ext cx="936882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tabLst>
                <a:tab pos="3835400" algn="l"/>
              </a:tabLst>
              <a:defRPr sz="18000" b="1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defRPr>
            </a:lvl1pPr>
          </a:lstStyle>
          <a:p>
            <a:r>
              <a:rPr lang="en-US" sz="96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Danke für </a:t>
            </a:r>
            <a:r>
              <a:rPr lang="en-US" sz="9600" dirty="0" err="1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eure</a:t>
            </a:r>
            <a:r>
              <a:rPr lang="en-US" sz="96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 </a:t>
            </a:r>
            <a:r>
              <a:rPr lang="en-US" sz="9600" dirty="0" err="1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Aufmerksamkeit</a:t>
            </a:r>
            <a:endParaRPr lang="en-US" sz="960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944387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2013 - 2022 Theme">
  <a:themeElements>
    <a:clrScheme name="Office 2013 - 2022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F46216B-77A9-411A-B9D3-5023FCB7020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87867195-f2b8-4ac2-b0b6-6bb73cb33afc}" enabled="1" method="Privilege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0</TotalTime>
  <Words>781</Words>
  <Application>Microsoft Office PowerPoint</Application>
  <PresentationFormat>Breitbild</PresentationFormat>
  <Paragraphs>123</Paragraphs>
  <Slides>6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Play</vt:lpstr>
      <vt:lpstr>Space Grotesk</vt:lpstr>
      <vt:lpstr>Office 2013 - 2022 Theme</vt:lpstr>
      <vt:lpstr>think-cell Folie</vt:lpstr>
      <vt:lpstr>PowerPoint-Präsentation</vt:lpstr>
      <vt:lpstr>Überblick in Maester</vt:lpstr>
      <vt:lpstr>Maester Framework</vt:lpstr>
      <vt:lpstr>On Demand Ausführung - Demo</vt:lpstr>
      <vt:lpstr>Demo für Gitlab oder GitHub - Demo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Microsoft Office User</dc:creator>
  <cp:keywords/>
  <dc:description/>
  <cp:lastModifiedBy>Lukas Gosling</cp:lastModifiedBy>
  <cp:revision>71</cp:revision>
  <dcterms:created xsi:type="dcterms:W3CDTF">2022-12-09T06:31:24Z</dcterms:created>
  <dcterms:modified xsi:type="dcterms:W3CDTF">2025-08-12T18:44:56Z</dcterms:modified>
  <cp:category/>
</cp:coreProperties>
</file>